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076137539" r:id="rId5"/>
  </p:sldIdLst>
  <p:sldSz cx="12192000" cy="6858000"/>
  <p:notesSz cx="6858000" cy="9144000"/>
  <p:embeddedFontLst>
    <p:embeddedFont>
      <p:font typeface="FreightSans Pro Book" panose="02000606030000020004" pitchFamily="2" charset="0"/>
      <p:regular r:id="rId8"/>
      <p:italic r:id="rId9"/>
    </p:embeddedFont>
    <p:embeddedFont>
      <p:font typeface="FreightSans Pro Book" panose="02000606030000020004" pitchFamily="2" charset="0"/>
      <p:regular r:id="rId8"/>
      <p:italic r:id="rId9"/>
    </p:embeddedFont>
    <p:embeddedFont>
      <p:font typeface="FreightSans Pro Semibold" panose="02000603040000020004" pitchFamily="2" charset="0"/>
      <p:regular r:id="rId10"/>
      <p:bold r:id="rId11"/>
      <p:italic r:id="rId12"/>
      <p:boldItalic r:id="rId13"/>
    </p:embeddedFont>
    <p:embeddedFont>
      <p:font typeface="FreightSans Pro Semibold" panose="02000603040000020004" pitchFamily="2" charset="0"/>
      <p:regular r:id="rId10"/>
      <p:bold r:id="rId11"/>
      <p:italic r:id="rId12"/>
      <p:boldItalic r:id="rId13"/>
    </p:embeddedFont>
    <p:embeddedFont>
      <p:font typeface="HelveticaNowDisplay Bold" panose="020B0404030202020204" pitchFamily="34" charset="77"/>
      <p:bold r:id="rId14"/>
    </p:embeddedFont>
    <p:embeddedFont>
      <p:font typeface="HelveticaNowDisplay ExtraBold" panose="020B0404030202020204" pitchFamily="34" charset="77"/>
      <p:bold r:id="rId15"/>
    </p:embeddedFont>
    <p:embeddedFont>
      <p:font typeface="HelveticaNowDisplay Light" panose="020B0404030202020204" pitchFamily="34" charset="77"/>
      <p:regular r:id="rId16"/>
    </p:embeddedFont>
    <p:embeddedFont>
      <p:font typeface="HelveticaNowDisplay Regular" panose="020B0504030202020204" pitchFamily="34" charset="77"/>
      <p:regular r:id="rId17"/>
    </p:embeddedFont>
    <p:embeddedFont>
      <p:font typeface="Kepler Std" panose="0204060306070A060204" pitchFamily="18" charset="77"/>
      <p:regular r:id="rId18"/>
      <p:bold r:id="rId19"/>
      <p:italic r:id="rId20"/>
      <p:boldItalic r:id="rId21"/>
    </p:embeddedFont>
  </p:embeddedFontLst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17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6B15B05-C85C-A5AF-2AB1-971AC9DE4CB5}" name="Renaldo Haurissa" initials="" userId="S::renaldo.haurissa@igh.com::a6dbe3e7-8691-4e6b-b07e-07ad0d38642e" providerId="AD"/>
  <p188:author id="{673AA73F-94E5-9D85-9EB2-5C82B12365E9}" name="Wouter van den Berg" initials="Wv" userId="S::wouter.vandenberg@igh.com::11f1993f-e1da-4d6b-88c3-e2dc89bd0748" providerId="AD"/>
  <p188:author id="{EF22FC63-65AD-0440-B6F3-657DDF719A0A}" name="Isabelle Scholten" initials="IS" userId="S::isabelle.scholten@igh.com::7de7ad6a-8d0b-4bf1-a534-71059f2a2797" providerId="AD"/>
  <p188:author id="{02C0547F-FB62-0533-A3B5-F527B9C11592}" name="Tim Dekker" initials="TD" userId="S::tim.dekker@igh.com::d5585e06-5a57-468a-a43b-d43128807e3b" providerId="AD"/>
  <p188:author id="{935222AD-237B-6B80-2F0A-0C684CDC2BA7}" name="Robbin-Jan Haar" initials="RJH" userId="S::robbinjan.haar@igh.com::a61b1bd4-3326-4f52-85e6-94ff7c6aa093" providerId="AD"/>
  <p188:author id="{1D5724D3-B43B-A122-9051-3D4B79B069C7}" name="Sjoerd Baardman" initials="SB" userId="S::sjoerd.baardman@igh.com::f8fec93b-988e-4a5f-ac73-7cbd6e98ce89" providerId="AD"/>
  <p188:author id="{0CE43CDD-5734-D46C-4108-4A21A5D7136B}" name="Lisanne Groenendaal" initials="LG" userId="S::lisanne.groenendaal@igh.com::b25adcd9-c0ea-4892-bdc0-19b68bd62dab" providerId="AD"/>
  <p188:author id="{7D6CF7E4-F35C-1E2C-7714-C2EE8FAF835A}" name="Rosalien Timmerhuis" initials="RT" userId="S::rosalien.timmerhuis@igh.com::a3a46377-8ec8-4171-9329-af1fd7c8f12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6CB3C"/>
    <a:srgbClr val="FFE533"/>
    <a:srgbClr val="E7E5E4"/>
    <a:srgbClr val="A3A3A3"/>
    <a:srgbClr val="071F65"/>
    <a:srgbClr val="000000"/>
    <a:srgbClr val="669F2A"/>
    <a:srgbClr val="0D0E20"/>
    <a:srgbClr val="1B1C33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73A0DAA-6AF3-43AB-8588-CEC1D06C72B9}" styleName="Stijl, gemiddeld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Stijl, gemiddeld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16DA210-FB5B-4158-B5E0-FEB733F419BA}" styleName="Stijl, lich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Geen stijl, tabel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Stijl, thema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Stijl, thema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216" y="672"/>
      </p:cViewPr>
      <p:guideLst>
        <p:guide pos="3817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font" Target="fonts/font11.fntdata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font" Target="fonts/font14.fntdata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font" Target="fonts/font9.fntdata"/><Relationship Id="rId20" Type="http://schemas.openxmlformats.org/officeDocument/2006/relationships/font" Target="fonts/font13.fntdata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23" Type="http://schemas.openxmlformats.org/officeDocument/2006/relationships/presProps" Target="presProps.xml"/><Relationship Id="rId28" Type="http://schemas.microsoft.com/office/2018/10/relationships/authors" Target="authors.xml"/><Relationship Id="rId10" Type="http://schemas.openxmlformats.org/officeDocument/2006/relationships/font" Target="fonts/font3.fntdata"/><Relationship Id="rId19" Type="http://schemas.openxmlformats.org/officeDocument/2006/relationships/font" Target="fonts/font12.fntdata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than van Kan" userId="8739f903-f51c-43ac-b5ad-f6126313efd3" providerId="ADAL" clId="{585D8E5E-5283-FE40-821D-C59E5CE18190}"/>
    <pc:docChg chg="undo redo custSel modSld">
      <pc:chgData name="Nathan van Kan" userId="8739f903-f51c-43ac-b5ad-f6126313efd3" providerId="ADAL" clId="{585D8E5E-5283-FE40-821D-C59E5CE18190}" dt="2025-01-13T12:26:14.942" v="427" actId="1076"/>
      <pc:docMkLst>
        <pc:docMk/>
      </pc:docMkLst>
      <pc:sldChg chg="modSp mod">
        <pc:chgData name="Nathan van Kan" userId="8739f903-f51c-43ac-b5ad-f6126313efd3" providerId="ADAL" clId="{585D8E5E-5283-FE40-821D-C59E5CE18190}" dt="2025-01-13T12:26:14.942" v="427" actId="1076"/>
        <pc:sldMkLst>
          <pc:docMk/>
          <pc:sldMk cId="4123731654" sldId="2076137539"/>
        </pc:sldMkLst>
        <pc:spChg chg="mod">
          <ac:chgData name="Nathan van Kan" userId="8739f903-f51c-43ac-b5ad-f6126313efd3" providerId="ADAL" clId="{585D8E5E-5283-FE40-821D-C59E5CE18190}" dt="2025-01-13T12:21:12.987" v="19" actId="20577"/>
          <ac:spMkLst>
            <pc:docMk/>
            <pc:sldMk cId="4123731654" sldId="2076137539"/>
            <ac:spMk id="2" creationId="{D27076E8-4CAB-476F-A3A1-D3ABBF2AF767}"/>
          </ac:spMkLst>
        </pc:spChg>
        <pc:spChg chg="mod">
          <ac:chgData name="Nathan van Kan" userId="8739f903-f51c-43ac-b5ad-f6126313efd3" providerId="ADAL" clId="{585D8E5E-5283-FE40-821D-C59E5CE18190}" dt="2025-01-13T12:25:47.082" v="417" actId="20577"/>
          <ac:spMkLst>
            <pc:docMk/>
            <pc:sldMk cId="4123731654" sldId="2076137539"/>
            <ac:spMk id="3" creationId="{B8A7031E-6448-A563-3874-B23DC75BF016}"/>
          </ac:spMkLst>
        </pc:spChg>
        <pc:spChg chg="mod">
          <ac:chgData name="Nathan van Kan" userId="8739f903-f51c-43ac-b5ad-f6126313efd3" providerId="ADAL" clId="{585D8E5E-5283-FE40-821D-C59E5CE18190}" dt="2025-01-13T12:25:29.450" v="382" actId="20577"/>
          <ac:spMkLst>
            <pc:docMk/>
            <pc:sldMk cId="4123731654" sldId="2076137539"/>
            <ac:spMk id="7" creationId="{07310662-5D87-1A33-AEC8-1D25929430DE}"/>
          </ac:spMkLst>
        </pc:spChg>
        <pc:spChg chg="mod">
          <ac:chgData name="Nathan van Kan" userId="8739f903-f51c-43ac-b5ad-f6126313efd3" providerId="ADAL" clId="{585D8E5E-5283-FE40-821D-C59E5CE18190}" dt="2025-01-13T12:24:55.723" v="368" actId="20577"/>
          <ac:spMkLst>
            <pc:docMk/>
            <pc:sldMk cId="4123731654" sldId="2076137539"/>
            <ac:spMk id="14" creationId="{D2E03ECD-19D4-4338-9EDE-A1865258AEA8}"/>
          </ac:spMkLst>
        </pc:spChg>
        <pc:spChg chg="mod">
          <ac:chgData name="Nathan van Kan" userId="8739f903-f51c-43ac-b5ad-f6126313efd3" providerId="ADAL" clId="{585D8E5E-5283-FE40-821D-C59E5CE18190}" dt="2025-01-13T12:25:57.847" v="420" actId="1076"/>
          <ac:spMkLst>
            <pc:docMk/>
            <pc:sldMk cId="4123731654" sldId="2076137539"/>
            <ac:spMk id="15" creationId="{0DBD0905-99FF-4B6A-890A-C2DE359C9574}"/>
          </ac:spMkLst>
        </pc:spChg>
        <pc:spChg chg="mod">
          <ac:chgData name="Nathan van Kan" userId="8739f903-f51c-43ac-b5ad-f6126313efd3" providerId="ADAL" clId="{585D8E5E-5283-FE40-821D-C59E5CE18190}" dt="2025-01-13T12:26:14.942" v="427" actId="1076"/>
          <ac:spMkLst>
            <pc:docMk/>
            <pc:sldMk cId="4123731654" sldId="2076137539"/>
            <ac:spMk id="16" creationId="{D2BBEBC0-1A3B-4C8C-8A65-0BC3BC86E0E9}"/>
          </ac:spMkLst>
        </pc:spChg>
        <pc:spChg chg="mod">
          <ac:chgData name="Nathan van Kan" userId="8739f903-f51c-43ac-b5ad-f6126313efd3" providerId="ADAL" clId="{585D8E5E-5283-FE40-821D-C59E5CE18190}" dt="2025-01-13T12:22:06.864" v="164" actId="20577"/>
          <ac:spMkLst>
            <pc:docMk/>
            <pc:sldMk cId="4123731654" sldId="2076137539"/>
            <ac:spMk id="17" creationId="{3F309572-23FA-449E-42AE-613F83662DBB}"/>
          </ac:spMkLst>
        </pc:spChg>
        <pc:spChg chg="mod">
          <ac:chgData name="Nathan van Kan" userId="8739f903-f51c-43ac-b5ad-f6126313efd3" providerId="ADAL" clId="{585D8E5E-5283-FE40-821D-C59E5CE18190}" dt="2025-01-13T12:21:41.316" v="79" actId="20577"/>
          <ac:spMkLst>
            <pc:docMk/>
            <pc:sldMk cId="4123731654" sldId="2076137539"/>
            <ac:spMk id="18" creationId="{28F576DD-FDB0-8CAA-C3C6-DE11B466C83F}"/>
          </ac:spMkLst>
        </pc:spChg>
        <pc:spChg chg="mod">
          <ac:chgData name="Nathan van Kan" userId="8739f903-f51c-43ac-b5ad-f6126313efd3" providerId="ADAL" clId="{585D8E5E-5283-FE40-821D-C59E5CE18190}" dt="2025-01-13T12:25:37.125" v="410" actId="20577"/>
          <ac:spMkLst>
            <pc:docMk/>
            <pc:sldMk cId="4123731654" sldId="2076137539"/>
            <ac:spMk id="21" creationId="{CF4594CE-F7DC-C881-3F73-C69960DCE763}"/>
          </ac:spMkLst>
        </pc:spChg>
        <pc:spChg chg="mod">
          <ac:chgData name="Nathan van Kan" userId="8739f903-f51c-43ac-b5ad-f6126313efd3" providerId="ADAL" clId="{585D8E5E-5283-FE40-821D-C59E5CE18190}" dt="2025-01-13T12:25:19.966" v="381"/>
          <ac:spMkLst>
            <pc:docMk/>
            <pc:sldMk cId="4123731654" sldId="2076137539"/>
            <ac:spMk id="22" creationId="{D556DF5B-ECCE-4364-8EB2-DFCCCC956C37}"/>
          </ac:spMkLst>
        </pc:spChg>
        <pc:spChg chg="mod">
          <ac:chgData name="Nathan van Kan" userId="8739f903-f51c-43ac-b5ad-f6126313efd3" providerId="ADAL" clId="{585D8E5E-5283-FE40-821D-C59E5CE18190}" dt="2025-01-13T12:21:24.722" v="43" actId="20577"/>
          <ac:spMkLst>
            <pc:docMk/>
            <pc:sldMk cId="4123731654" sldId="2076137539"/>
            <ac:spMk id="24" creationId="{95EEA2E2-F73F-F461-2C20-EFC20DEC8029}"/>
          </ac:spMkLst>
        </pc:spChg>
        <pc:spChg chg="mod">
          <ac:chgData name="Nathan van Kan" userId="8739f903-f51c-43ac-b5ad-f6126313efd3" providerId="ADAL" clId="{585D8E5E-5283-FE40-821D-C59E5CE18190}" dt="2025-01-13T12:21:39.076" v="75" actId="20577"/>
          <ac:spMkLst>
            <pc:docMk/>
            <pc:sldMk cId="4123731654" sldId="2076137539"/>
            <ac:spMk id="25" creationId="{B8A2FD5D-01AE-FBBE-E9EE-2FFB003E013A}"/>
          </ac:spMkLst>
        </pc:spChg>
        <pc:spChg chg="mod">
          <ac:chgData name="Nathan van Kan" userId="8739f903-f51c-43ac-b5ad-f6126313efd3" providerId="ADAL" clId="{585D8E5E-5283-FE40-821D-C59E5CE18190}" dt="2025-01-13T12:23:41.344" v="285" actId="20577"/>
          <ac:spMkLst>
            <pc:docMk/>
            <pc:sldMk cId="4123731654" sldId="2076137539"/>
            <ac:spMk id="28" creationId="{8798B1A3-7298-47E3-9451-6549B0B58D37}"/>
          </ac:spMkLst>
        </pc:spChg>
        <pc:spChg chg="mod">
          <ac:chgData name="Nathan van Kan" userId="8739f903-f51c-43ac-b5ad-f6126313efd3" providerId="ADAL" clId="{585D8E5E-5283-FE40-821D-C59E5CE18190}" dt="2025-01-13T12:23:36.592" v="272" actId="20577"/>
          <ac:spMkLst>
            <pc:docMk/>
            <pc:sldMk cId="4123731654" sldId="2076137539"/>
            <ac:spMk id="46" creationId="{A5141203-3EF8-4A15-850C-B9E2C9CD738B}"/>
          </ac:spMkLst>
        </pc:spChg>
        <pc:spChg chg="mod">
          <ac:chgData name="Nathan van Kan" userId="8739f903-f51c-43ac-b5ad-f6126313efd3" providerId="ADAL" clId="{585D8E5E-5283-FE40-821D-C59E5CE18190}" dt="2025-01-13T12:23:49.653" v="297" actId="20577"/>
          <ac:spMkLst>
            <pc:docMk/>
            <pc:sldMk cId="4123731654" sldId="2076137539"/>
            <ac:spMk id="52" creationId="{3AA9D7AE-4245-86F7-EAD1-2D3A3967AA05}"/>
          </ac:spMkLst>
        </pc:spChg>
        <pc:spChg chg="mod">
          <ac:chgData name="Nathan van Kan" userId="8739f903-f51c-43ac-b5ad-f6126313efd3" providerId="ADAL" clId="{585D8E5E-5283-FE40-821D-C59E5CE18190}" dt="2025-01-13T12:24:16.542" v="353" actId="20577"/>
          <ac:spMkLst>
            <pc:docMk/>
            <pc:sldMk cId="4123731654" sldId="2076137539"/>
            <ac:spMk id="56" creationId="{02599161-4228-8A53-6989-51291C5EDF7B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E85E703-0D4C-BA26-FD91-5032716D395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FreightSans Pro Book" panose="02000606030000020004" pitchFamily="2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99DB5C-B6DE-B062-2422-18B9843CA3E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D9AEA7-1B1C-46CD-9F2C-68BA6E8E9560}" type="datetimeFigureOut">
              <a:rPr lang="en-US" smtClean="0">
                <a:latin typeface="FreightSans Pro Book" panose="02000606030000020004" pitchFamily="2" charset="0"/>
              </a:rPr>
              <a:t>1/13/25</a:t>
            </a:fld>
            <a:endParaRPr lang="en-US">
              <a:latin typeface="FreightSans Pro Book" panose="02000606030000020004" pitchFamily="2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63D8C6-7797-C366-A6E2-8648382468C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FreightSans Pro Book" panose="02000606030000020004" pitchFamily="2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19B563-763F-935B-B384-F452484DC9E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2FC35D-E6BE-410A-9926-0180E3EEEE17}" type="slidenum">
              <a:rPr lang="en-US" smtClean="0">
                <a:latin typeface="FreightSans Pro Book" panose="02000606030000020004" pitchFamily="2" charset="0"/>
              </a:rPr>
              <a:t>‹#›</a:t>
            </a:fld>
            <a:endParaRPr lang="en-US">
              <a:latin typeface="FreightSans Pro Book" panose="02000606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983147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FreightSans Pro Book" panose="02000606030000020004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FreightSans Pro Book" panose="02000606030000020004" pitchFamily="2" charset="0"/>
              </a:defRPr>
            </a:lvl1pPr>
          </a:lstStyle>
          <a:p>
            <a:fld id="{7662E64C-B7F0-4875-9A48-6E6C527B504B}" type="datetimeFigureOut">
              <a:rPr lang="en-US" smtClean="0"/>
              <a:pPr/>
              <a:t>1/13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FreightSans Pro Book" panose="02000606030000020004" pitchFamily="2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FreightSans Pro Book" panose="02000606030000020004" pitchFamily="2" charset="0"/>
              </a:defRPr>
            </a:lvl1pPr>
          </a:lstStyle>
          <a:p>
            <a:fld id="{D06D4170-A8F1-406B-B86F-0C19EC8D83E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36106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FreightSans Pro Book" panose="02000606030000020004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FreightSans Pro Book" panose="02000606030000020004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FreightSans Pro Book" panose="02000606030000020004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FreightSans Pro Book" panose="02000606030000020004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FreightSans Pro Book" panose="02000606030000020004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svg"/><Relationship Id="rId7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11" Type="http://schemas.openxmlformats.org/officeDocument/2006/relationships/image" Target="../media/image11.svg"/><Relationship Id="rId5" Type="http://schemas.openxmlformats.org/officeDocument/2006/relationships/image" Target="../media/image5.sv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svg"/><Relationship Id="rId4" Type="http://schemas.openxmlformats.org/officeDocument/2006/relationships/image" Target="../media/image10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svg"/><Relationship Id="rId4" Type="http://schemas.openxmlformats.org/officeDocument/2006/relationships/image" Target="../media/image10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svg"/><Relationship Id="rId4" Type="http://schemas.openxmlformats.org/officeDocument/2006/relationships/image" Target="../media/image10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svg"/><Relationship Id="rId4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svg"/><Relationship Id="rId4" Type="http://schemas.openxmlformats.org/officeDocument/2006/relationships/image" Target="../media/image10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svg"/><Relationship Id="rId4" Type="http://schemas.openxmlformats.org/officeDocument/2006/relationships/image" Target="../media/image10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svg"/><Relationship Id="rId4" Type="http://schemas.openxmlformats.org/officeDocument/2006/relationships/image" Target="../media/image10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svg"/><Relationship Id="rId4" Type="http://schemas.openxmlformats.org/officeDocument/2006/relationships/image" Target="../media/image10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svg"/><Relationship Id="rId4" Type="http://schemas.openxmlformats.org/officeDocument/2006/relationships/image" Target="../media/image10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svg"/><Relationship Id="rId4" Type="http://schemas.openxmlformats.org/officeDocument/2006/relationships/image" Target="../media/image10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svg"/><Relationship Id="rId4" Type="http://schemas.openxmlformats.org/officeDocument/2006/relationships/image" Target="../media/image10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svg"/><Relationship Id="rId4" Type="http://schemas.openxmlformats.org/officeDocument/2006/relationships/image" Target="../media/image10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22.svg"/><Relationship Id="rId7" Type="http://schemas.openxmlformats.org/officeDocument/2006/relationships/image" Target="../media/image48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7.png"/><Relationship Id="rId5" Type="http://schemas.openxmlformats.org/officeDocument/2006/relationships/image" Target="../media/image46.svg"/><Relationship Id="rId4" Type="http://schemas.openxmlformats.org/officeDocument/2006/relationships/image" Target="../media/image45.png"/><Relationship Id="rId9" Type="http://schemas.openxmlformats.org/officeDocument/2006/relationships/image" Target="../media/image50.svg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default">
    <p:bg>
      <p:bgPr>
        <a:gradFill flip="none" rotWithShape="1">
          <a:gsLst>
            <a:gs pos="0">
              <a:schemeClr val="tx1"/>
            </a:gs>
            <a:gs pos="100000">
              <a:schemeClr val="accent4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CCD2E99-CF34-961F-7689-AB2AFFE4A8CD}"/>
              </a:ext>
            </a:extLst>
          </p:cNvPr>
          <p:cNvGrpSpPr/>
          <p:nvPr userDrawn="1"/>
        </p:nvGrpSpPr>
        <p:grpSpPr>
          <a:xfrm>
            <a:off x="1200150" y="0"/>
            <a:ext cx="10992167" cy="6858579"/>
            <a:chOff x="1200150" y="0"/>
            <a:chExt cx="10992167" cy="6858579"/>
          </a:xfrm>
        </p:grpSpPr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8057AF7B-0A4E-6342-1544-7D4CB06B34D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470231" y="4133055"/>
              <a:ext cx="2721769" cy="2721769"/>
            </a:xfrm>
            <a:prstGeom prst="rect">
              <a:avLst/>
            </a:prstGeom>
          </p:spPr>
        </p:pic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490589BB-9BA7-11E2-9C43-5187FFA328F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9449117" y="1"/>
              <a:ext cx="2743200" cy="4114800"/>
            </a:xfrm>
            <a:prstGeom prst="rect">
              <a:avLst/>
            </a:prstGeom>
          </p:spPr>
        </p:pic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47A6D819-254D-0214-775A-53C821FE3E4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711631" y="0"/>
              <a:ext cx="2726055" cy="5452110"/>
            </a:xfrm>
            <a:prstGeom prst="rect">
              <a:avLst/>
            </a:prstGeom>
          </p:spPr>
        </p:pic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A0E17F63-6649-7661-B94B-8242CD7CE4C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1200150" y="4111410"/>
              <a:ext cx="5494338" cy="2747169"/>
            </a:xfrm>
            <a:prstGeom prst="rect">
              <a:avLst/>
            </a:prstGeom>
          </p:spPr>
        </p:pic>
      </p:grpSp>
      <p:pic>
        <p:nvPicPr>
          <p:cNvPr id="9" name="Graphic 8">
            <a:extLst>
              <a:ext uri="{FF2B5EF4-FFF2-40B4-BE49-F238E27FC236}">
                <a16:creationId xmlns:a16="http://schemas.microsoft.com/office/drawing/2014/main" id="{8A81FCC8-9B6C-F476-4358-DD9EF642ABA1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5938" y="0"/>
            <a:ext cx="1600200" cy="8001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F8A30EBA-F185-488E-FDCF-122151C18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2076653"/>
            <a:ext cx="8459787" cy="800101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D72447F8-195B-E7F7-D17A-CA8C31FA46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8892" y="3418406"/>
            <a:ext cx="8446833" cy="323165"/>
          </a:xfrm>
          <a:noFill/>
        </p:spPr>
        <p:txBody>
          <a:bodyPr wrap="square" lIns="0" tIns="0" rIns="0" bIns="0" rtlCol="0" anchor="b">
            <a:noAutofit/>
          </a:bodyPr>
          <a:lstStyle>
            <a:lvl1pPr marL="0" indent="0">
              <a:spcBef>
                <a:spcPts val="0"/>
              </a:spcBef>
              <a:buNone/>
              <a:defRPr lang="en-US" sz="1600" smtClean="0">
                <a:solidFill>
                  <a:schemeClr val="bg1"/>
                </a:solidFill>
                <a:latin typeface="+mn-lt"/>
              </a:defRPr>
            </a:lvl1pPr>
            <a:lvl2pPr>
              <a:defRPr lang="en-US" smtClean="0"/>
            </a:lvl2pPr>
            <a:lvl3pPr>
              <a:defRPr lang="en-US" sz="1800" smtClean="0"/>
            </a:lvl3pPr>
            <a:lvl4pPr>
              <a:defRPr lang="en-US" sz="1800" smtClean="0"/>
            </a:lvl4pPr>
            <a:lvl5pPr>
              <a:defRPr lang="en-US" sz="1800"/>
            </a:lvl5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312F12E9-AE9E-9FA5-F6A8-8010BF368A4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8892" y="2893972"/>
            <a:ext cx="8446833" cy="507216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 algn="l">
              <a:buNone/>
              <a:defRPr>
                <a:solidFill>
                  <a:schemeClr val="bg1"/>
                </a:solidFill>
              </a:defRPr>
            </a:lvl2pPr>
            <a:lvl3pPr marL="914400" indent="0" algn="l">
              <a:buNone/>
              <a:defRPr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bg1"/>
                </a:solidFill>
              </a:defRPr>
            </a:lvl4pPr>
            <a:lvl5pPr marL="1828800" indent="0" algn="l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ijdelijke aanduiding voor tekst 5">
            <a:extLst>
              <a:ext uri="{FF2B5EF4-FFF2-40B4-BE49-F238E27FC236}">
                <a16:creationId xmlns:a16="http://schemas.microsoft.com/office/drawing/2014/main" id="{84BCE249-214B-C29D-C868-9C861ABB89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2926" y="1376363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26182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variant 1">
    <p:bg>
      <p:bgPr>
        <a:gradFill>
          <a:gsLst>
            <a:gs pos="0">
              <a:schemeClr val="tx2">
                <a:lumMod val="50000"/>
              </a:schemeClr>
            </a:gs>
            <a:gs pos="100000">
              <a:schemeClr val="accent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8CBBCB6-8BA2-64B3-49DB-96992A9D1AD7}"/>
              </a:ext>
            </a:extLst>
          </p:cNvPr>
          <p:cNvSpPr/>
          <p:nvPr userDrawn="1"/>
        </p:nvSpPr>
        <p:spPr>
          <a:xfrm>
            <a:off x="6577662" y="2519102"/>
            <a:ext cx="5098399" cy="3654537"/>
          </a:xfrm>
          <a:custGeom>
            <a:avLst/>
            <a:gdLst>
              <a:gd name="connsiteX0" fmla="*/ 0 w 5098399"/>
              <a:gd name="connsiteY0" fmla="*/ 1827585 h 3654537"/>
              <a:gd name="connsiteX1" fmla="*/ 1824424 w 5098399"/>
              <a:gd name="connsiteY1" fmla="*/ 0 h 3654537"/>
              <a:gd name="connsiteX2" fmla="*/ 1824424 w 5098399"/>
              <a:gd name="connsiteY2" fmla="*/ 1827585 h 3654537"/>
              <a:gd name="connsiteX3" fmla="*/ 4214002 w 5098399"/>
              <a:gd name="connsiteY3" fmla="*/ 1827585 h 3654537"/>
              <a:gd name="connsiteX4" fmla="*/ 5098399 w 5098399"/>
              <a:gd name="connsiteY4" fmla="*/ 2741061 h 3654537"/>
              <a:gd name="connsiteX5" fmla="*/ 4214002 w 5098399"/>
              <a:gd name="connsiteY5" fmla="*/ 3654537 h 3654537"/>
              <a:gd name="connsiteX6" fmla="*/ 1824424 w 5098399"/>
              <a:gd name="connsiteY6" fmla="*/ 3654537 h 3654537"/>
              <a:gd name="connsiteX7" fmla="*/ 1794080 w 5098399"/>
              <a:gd name="connsiteY7" fmla="*/ 3654537 h 3654537"/>
              <a:gd name="connsiteX8" fmla="*/ 1794080 w 5098399"/>
              <a:gd name="connsiteY8" fmla="*/ 3654537 h 3654537"/>
              <a:gd name="connsiteX9" fmla="*/ 0 w 5098399"/>
              <a:gd name="connsiteY9" fmla="*/ 1827585 h 365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098399" h="3654537">
                <a:moveTo>
                  <a:pt x="0" y="1827585"/>
                </a:moveTo>
                <a:cubicBezTo>
                  <a:pt x="0" y="819916"/>
                  <a:pt x="816755" y="0"/>
                  <a:pt x="1824424" y="0"/>
                </a:cubicBezTo>
                <a:lnTo>
                  <a:pt x="1824424" y="1827585"/>
                </a:lnTo>
                <a:lnTo>
                  <a:pt x="4214002" y="1827585"/>
                </a:lnTo>
                <a:lnTo>
                  <a:pt x="5098399" y="2741061"/>
                </a:lnTo>
                <a:lnTo>
                  <a:pt x="4214002" y="3654537"/>
                </a:lnTo>
                <a:lnTo>
                  <a:pt x="1824424" y="3654537"/>
                </a:lnTo>
                <a:lnTo>
                  <a:pt x="1794080" y="3654537"/>
                </a:lnTo>
                <a:lnTo>
                  <a:pt x="1794080" y="3654537"/>
                </a:lnTo>
                <a:cubicBezTo>
                  <a:pt x="800951" y="3638733"/>
                  <a:pt x="0" y="2825139"/>
                  <a:pt x="0" y="1827585"/>
                </a:cubicBezTo>
                <a:close/>
              </a:path>
            </a:pathLst>
          </a:custGeom>
          <a:gradFill>
            <a:gsLst>
              <a:gs pos="0">
                <a:srgbClr val="C22921"/>
              </a:gs>
              <a:gs pos="50000">
                <a:srgbClr val="D42E20"/>
              </a:gs>
              <a:gs pos="100000">
                <a:srgbClr val="E6341F"/>
              </a:gs>
            </a:gsLst>
            <a:lin ang="9672715" scaled="1"/>
          </a:gra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10E8DAEB-283E-B27F-64FD-59D3729C0B84}"/>
              </a:ext>
            </a:extLst>
          </p:cNvPr>
          <p:cNvSpPr/>
          <p:nvPr userDrawn="1"/>
        </p:nvSpPr>
        <p:spPr>
          <a:xfrm>
            <a:off x="7489241" y="692150"/>
            <a:ext cx="2736636" cy="3654537"/>
          </a:xfrm>
          <a:custGeom>
            <a:avLst/>
            <a:gdLst>
              <a:gd name="connsiteX0" fmla="*/ 912212 w 2736636"/>
              <a:gd name="connsiteY0" fmla="*/ 912212 h 3654537"/>
              <a:gd name="connsiteX1" fmla="*/ 912212 w 2736636"/>
              <a:gd name="connsiteY1" fmla="*/ 1827585 h 3654537"/>
              <a:gd name="connsiteX2" fmla="*/ 0 w 2736636"/>
              <a:gd name="connsiteY2" fmla="*/ 2741061 h 3654537"/>
              <a:gd name="connsiteX3" fmla="*/ 912212 w 2736636"/>
              <a:gd name="connsiteY3" fmla="*/ 3654537 h 3654537"/>
              <a:gd name="connsiteX4" fmla="*/ 912212 w 2736636"/>
              <a:gd name="connsiteY4" fmla="*/ 3654537 h 3654537"/>
              <a:gd name="connsiteX5" fmla="*/ 1640465 w 2736636"/>
              <a:gd name="connsiteY5" fmla="*/ 3654537 h 3654537"/>
              <a:gd name="connsiteX6" fmla="*/ 2736636 w 2736636"/>
              <a:gd name="connsiteY6" fmla="*/ 2558366 h 3654537"/>
              <a:gd name="connsiteX7" fmla="*/ 2736636 w 2736636"/>
              <a:gd name="connsiteY7" fmla="*/ 1827585 h 3654537"/>
              <a:gd name="connsiteX8" fmla="*/ 2736636 w 2736636"/>
              <a:gd name="connsiteY8" fmla="*/ 912212 h 3654537"/>
              <a:gd name="connsiteX9" fmla="*/ 1824425 w 2736636"/>
              <a:gd name="connsiteY9" fmla="*/ 0 h 3654537"/>
              <a:gd name="connsiteX10" fmla="*/ 912212 w 2736636"/>
              <a:gd name="connsiteY10" fmla="*/ 912212 h 365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736636" h="3654537">
                <a:moveTo>
                  <a:pt x="912212" y="912212"/>
                </a:moveTo>
                <a:lnTo>
                  <a:pt x="912212" y="1827585"/>
                </a:lnTo>
                <a:cubicBezTo>
                  <a:pt x="408378" y="1827585"/>
                  <a:pt x="0" y="2237227"/>
                  <a:pt x="0" y="2741061"/>
                </a:cubicBezTo>
                <a:cubicBezTo>
                  <a:pt x="0" y="3244896"/>
                  <a:pt x="408378" y="3654537"/>
                  <a:pt x="912212" y="3654537"/>
                </a:cubicBezTo>
                <a:lnTo>
                  <a:pt x="912212" y="3654537"/>
                </a:lnTo>
                <a:lnTo>
                  <a:pt x="1640465" y="3654537"/>
                </a:lnTo>
                <a:cubicBezTo>
                  <a:pt x="2246078" y="3654537"/>
                  <a:pt x="2736636" y="3163347"/>
                  <a:pt x="2736636" y="2558366"/>
                </a:cubicBezTo>
                <a:lnTo>
                  <a:pt x="2736636" y="1827585"/>
                </a:lnTo>
                <a:lnTo>
                  <a:pt x="2736636" y="912212"/>
                </a:lnTo>
                <a:cubicBezTo>
                  <a:pt x="2736636" y="408378"/>
                  <a:pt x="2328259" y="0"/>
                  <a:pt x="1824425" y="0"/>
                </a:cubicBezTo>
                <a:cubicBezTo>
                  <a:pt x="1320590" y="0"/>
                  <a:pt x="912212" y="408378"/>
                  <a:pt x="912212" y="912212"/>
                </a:cubicBezTo>
                <a:close/>
              </a:path>
            </a:pathLst>
          </a:custGeom>
          <a:gradFill>
            <a:gsLst>
              <a:gs pos="0">
                <a:srgbClr val="A92224"/>
              </a:gs>
              <a:gs pos="50000">
                <a:srgbClr val="C72B21"/>
              </a:gs>
              <a:gs pos="100000">
                <a:srgbClr val="E6341F"/>
              </a:gs>
            </a:gsLst>
            <a:lin ang="20049708" scaled="1"/>
          </a:gra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384C7FF-0E24-8F62-0458-5167BA29E87B}"/>
              </a:ext>
            </a:extLst>
          </p:cNvPr>
          <p:cNvSpPr/>
          <p:nvPr/>
        </p:nvSpPr>
        <p:spPr>
          <a:xfrm>
            <a:off x="0" y="692150"/>
            <a:ext cx="10225877" cy="1830113"/>
          </a:xfrm>
          <a:custGeom>
            <a:avLst/>
            <a:gdLst>
              <a:gd name="connsiteX0" fmla="*/ 8893277 w 10225877"/>
              <a:gd name="connsiteY0" fmla="*/ 0 h 1830113"/>
              <a:gd name="connsiteX1" fmla="*/ 0 w 10225877"/>
              <a:gd name="connsiteY1" fmla="*/ 0 h 1830113"/>
              <a:gd name="connsiteX2" fmla="*/ 0 w 10225877"/>
              <a:gd name="connsiteY2" fmla="*/ 1830114 h 1830113"/>
              <a:gd name="connsiteX3" fmla="*/ 8893277 w 10225877"/>
              <a:gd name="connsiteY3" fmla="*/ 1830114 h 1830113"/>
              <a:gd name="connsiteX4" fmla="*/ 8893277 w 10225877"/>
              <a:gd name="connsiteY4" fmla="*/ 1827585 h 1830113"/>
              <a:gd name="connsiteX5" fmla="*/ 9312401 w 10225877"/>
              <a:gd name="connsiteY5" fmla="*/ 1827585 h 1830113"/>
              <a:gd name="connsiteX6" fmla="*/ 10225878 w 10225877"/>
              <a:gd name="connsiteY6" fmla="*/ 914109 h 1830113"/>
              <a:gd name="connsiteX7" fmla="*/ 9312401 w 10225877"/>
              <a:gd name="connsiteY7" fmla="*/ 632 h 1830113"/>
              <a:gd name="connsiteX8" fmla="*/ 8893277 w 10225877"/>
              <a:gd name="connsiteY8" fmla="*/ 0 h 1830113"/>
              <a:gd name="connsiteX9" fmla="*/ 8893277 w 10225877"/>
              <a:gd name="connsiteY9" fmla="*/ 0 h 1830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225877" h="1830113">
                <a:moveTo>
                  <a:pt x="8893277" y="0"/>
                </a:moveTo>
                <a:lnTo>
                  <a:pt x="0" y="0"/>
                </a:lnTo>
                <a:lnTo>
                  <a:pt x="0" y="1830114"/>
                </a:lnTo>
                <a:lnTo>
                  <a:pt x="8893277" y="1830114"/>
                </a:lnTo>
                <a:lnTo>
                  <a:pt x="8893277" y="1827585"/>
                </a:lnTo>
                <a:lnTo>
                  <a:pt x="9312401" y="1827585"/>
                </a:lnTo>
                <a:cubicBezTo>
                  <a:pt x="9816868" y="1827585"/>
                  <a:pt x="10225878" y="1418575"/>
                  <a:pt x="10225878" y="914109"/>
                </a:cubicBezTo>
                <a:cubicBezTo>
                  <a:pt x="10225878" y="409642"/>
                  <a:pt x="9816868" y="632"/>
                  <a:pt x="9312401" y="632"/>
                </a:cubicBezTo>
                <a:lnTo>
                  <a:pt x="8893277" y="0"/>
                </a:lnTo>
                <a:lnTo>
                  <a:pt x="8893277" y="0"/>
                </a:lnTo>
                <a:close/>
              </a:path>
            </a:pathLst>
          </a:custGeom>
          <a:gradFill>
            <a:gsLst>
              <a:gs pos="0">
                <a:srgbClr val="E6341F"/>
              </a:gs>
              <a:gs pos="50000">
                <a:srgbClr val="B32522"/>
              </a:gs>
              <a:gs pos="100000">
                <a:srgbClr val="801626"/>
              </a:gs>
            </a:gsLst>
            <a:lin ang="18287047" scaled="1"/>
          </a:gradFill>
          <a:ln w="631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5B4FB5-771F-2B79-E70A-B5CFE03525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1376364"/>
            <a:ext cx="8459786" cy="684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able of contents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AF9918-D0A9-0173-8D8F-90E36BD1FD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9" y="2877671"/>
            <a:ext cx="5580061" cy="3058181"/>
          </a:xfrm>
        </p:spPr>
        <p:txBody>
          <a:bodyPr/>
          <a:lstStyle>
            <a:lvl1pPr marL="268288" indent="-268288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D55B11-6C50-8A86-2B8C-26847A5FF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255612-95C8-7D48-6058-D92907752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D347380-BEF1-94D1-C1DD-9EB7C4EE16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8226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variant 2">
    <p:bg>
      <p:bgPr>
        <a:gradFill>
          <a:gsLst>
            <a:gs pos="0">
              <a:schemeClr val="tx2">
                <a:lumMod val="50000"/>
              </a:schemeClr>
            </a:gs>
            <a:gs pos="100000">
              <a:schemeClr val="accent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Tijdelijke aanduiding voor afbeelding 21">
            <a:extLst>
              <a:ext uri="{FF2B5EF4-FFF2-40B4-BE49-F238E27FC236}">
                <a16:creationId xmlns:a16="http://schemas.microsoft.com/office/drawing/2014/main" id="{DB7456EE-67EA-FD55-B13A-2C39466C21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7045" r="3846"/>
          <a:stretch/>
        </p:blipFill>
        <p:spPr>
          <a:xfrm>
            <a:off x="7833378" y="589030"/>
            <a:ext cx="4358622" cy="626897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D55B11-6C50-8A86-2B8C-26847A5FF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255612-95C8-7D48-6058-D92907752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53AEA2A-9ED8-3E7F-0071-95D92EC8B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431" y="944975"/>
            <a:ext cx="8446294" cy="585062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Table of contents</a:t>
            </a:r>
          </a:p>
        </p:txBody>
      </p:sp>
      <p:sp>
        <p:nvSpPr>
          <p:cNvPr id="10" name="Tijdelijke aanduiding voor tekst 5">
            <a:extLst>
              <a:ext uri="{FF2B5EF4-FFF2-40B4-BE49-F238E27FC236}">
                <a16:creationId xmlns:a16="http://schemas.microsoft.com/office/drawing/2014/main" id="{C4A93469-6B99-3E44-6A40-AAC801F096E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DBC3038-3826-9F0F-6865-500692DE452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CF79F39-2A9A-0D76-4934-ADC47AF257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9" y="1692999"/>
            <a:ext cx="8446294" cy="4242854"/>
          </a:xfrm>
        </p:spPr>
        <p:txBody>
          <a:bodyPr/>
          <a:lstStyle>
            <a:lvl1pPr marL="268288" indent="-268288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3936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ant 5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D55B11-6C50-8A86-2B8C-26847A5FF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255612-95C8-7D48-6058-D92907752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7DBCDD2-0BD6-604A-4B1F-425BA1895DB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972859" y="-4982"/>
            <a:ext cx="1098564" cy="59401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38FB7054-43A7-29BC-1213-F7FA4D2A41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431" y="944975"/>
            <a:ext cx="8446294" cy="585062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Table of content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B9243C9C-CCC8-F248-EA28-F1931B14B9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9" y="1692999"/>
            <a:ext cx="8446294" cy="4242854"/>
          </a:xfrm>
        </p:spPr>
        <p:txBody>
          <a:bodyPr/>
          <a:lstStyle>
            <a:lvl1pPr marL="268288" indent="-268288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Tijdelijke aanduiding voor tekst 5">
            <a:extLst>
              <a:ext uri="{FF2B5EF4-FFF2-40B4-BE49-F238E27FC236}">
                <a16:creationId xmlns:a16="http://schemas.microsoft.com/office/drawing/2014/main" id="{3F11B39B-63E0-1413-A6FE-1195891265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512118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F40FC8-F10E-B9A2-274A-41B0054746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2F819A9-EBBA-6995-E686-CC10272640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20AC8-9871-4AEB-A36A-D6BEF7DDDDB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9383CA3-E91D-DE13-69D4-408BDF6698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20559"/>
            <a:ext cx="8459787" cy="1130954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CE7609B-A2AF-B863-7254-821D8CEF65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08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Red">
    <p:bg>
      <p:bgPr>
        <a:gradFill>
          <a:gsLst>
            <a:gs pos="100000">
              <a:schemeClr val="accent3"/>
            </a:gs>
            <a:gs pos="0">
              <a:schemeClr val="accent2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F40FC8-F10E-B9A2-274A-41B0054746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2F819A9-EBBA-6995-E686-CC10272640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9383CA3-E91D-DE13-69D4-408BDF6698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20559"/>
            <a:ext cx="8459787" cy="1130954"/>
          </a:xfrm>
        </p:spPr>
        <p:txBody>
          <a:bodyPr/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23A49041-5E49-582D-CF2C-9BF70A2852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635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headin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D55B11-6C50-8A86-2B8C-26847A5FF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255612-95C8-7D48-6058-D92907752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20AC8-9871-4AEB-A36A-D6BEF7DDDDB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5EED61D-370B-4046-E488-D1AD4F6FDB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5"/>
            <a:ext cx="8446294" cy="1115600"/>
          </a:xfrm>
        </p:spPr>
        <p:txBody>
          <a:bodyPr/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2" name="Tijdelijke aanduiding voor tekst 5">
            <a:extLst>
              <a:ext uri="{FF2B5EF4-FFF2-40B4-BE49-F238E27FC236}">
                <a16:creationId xmlns:a16="http://schemas.microsoft.com/office/drawing/2014/main" id="{005C824D-45CE-5A61-358C-DD4827276B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860BE24-18BA-3DC3-5605-26BE6FB5B0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82302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heading-Red">
    <p:bg>
      <p:bgPr>
        <a:gradFill>
          <a:gsLst>
            <a:gs pos="100000">
              <a:schemeClr val="accent3"/>
            </a:gs>
            <a:gs pos="0">
              <a:schemeClr val="accent2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D55B11-6C50-8A86-2B8C-26847A5FF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255612-95C8-7D48-6058-D92907752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B1446A17-2787-4BCE-7C3A-FFEC68B208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B582A103-885D-29DB-9213-86488B23D6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4"/>
            <a:ext cx="8446294" cy="1115601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ijdelijke aanduiding voor tekst 5">
            <a:extLst>
              <a:ext uri="{FF2B5EF4-FFF2-40B4-BE49-F238E27FC236}">
                <a16:creationId xmlns:a16="http://schemas.microsoft.com/office/drawing/2014/main" id="{0D7FD2BB-431E-5062-760B-A6618ECF85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112130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heading-Blue">
    <p:bg>
      <p:bgPr>
        <a:gradFill flip="none" rotWithShape="1">
          <a:gsLst>
            <a:gs pos="0">
              <a:schemeClr val="accent4"/>
            </a:gs>
            <a:gs pos="100000">
              <a:schemeClr val="accent5"/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D55B11-6C50-8A86-2B8C-26847A5FF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255612-95C8-7D48-6058-D92907752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689907C-74E7-2A71-F212-B0FC9FAD3D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4"/>
            <a:ext cx="8446294" cy="1115601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Tijdelijke aanduiding voor tekst 5">
            <a:extLst>
              <a:ext uri="{FF2B5EF4-FFF2-40B4-BE49-F238E27FC236}">
                <a16:creationId xmlns:a16="http://schemas.microsoft.com/office/drawing/2014/main" id="{9C851C73-4634-AC04-0AA5-865256488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4DFF0CD-40BD-86FE-5370-72306F22AA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3395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heading-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D55B11-6C50-8A86-2B8C-26847A5FF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255612-95C8-7D48-6058-D92907752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20AC8-9871-4AEB-A36A-D6BEF7DDDDB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5EED61D-370B-4046-E488-D1AD4F6FDB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5"/>
            <a:ext cx="8446294" cy="597222"/>
          </a:xfrm>
        </p:spPr>
        <p:txBody>
          <a:bodyPr/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2" name="Tijdelijke aanduiding voor tekst 5">
            <a:extLst>
              <a:ext uri="{FF2B5EF4-FFF2-40B4-BE49-F238E27FC236}">
                <a16:creationId xmlns:a16="http://schemas.microsoft.com/office/drawing/2014/main" id="{005C824D-45CE-5A61-358C-DD4827276B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6731B1A-1DD5-E55A-2C01-273547CD35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8" y="1542197"/>
            <a:ext cx="11160125" cy="462365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860BE24-18BA-3DC3-5605-26BE6FB5B0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6014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D55B11-6C50-8A86-2B8C-26847A5FF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255612-95C8-7D48-6058-D92907752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20AC8-9871-4AEB-A36A-D6BEF7DDDDB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5EED61D-370B-4046-E488-D1AD4F6FDB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5"/>
            <a:ext cx="8446294" cy="597222"/>
          </a:xfrm>
        </p:spPr>
        <p:txBody>
          <a:bodyPr/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2" name="Tijdelijke aanduiding voor tekst 5">
            <a:extLst>
              <a:ext uri="{FF2B5EF4-FFF2-40B4-BE49-F238E27FC236}">
                <a16:creationId xmlns:a16="http://schemas.microsoft.com/office/drawing/2014/main" id="{005C824D-45CE-5A61-358C-DD4827276B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860BE24-18BA-3DC3-5605-26BE6FB5B0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27CDA56A-6DBE-B670-E3BF-8A27B3DCD5A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0060411" y="2560638"/>
            <a:ext cx="1640258" cy="1666391"/>
          </a:xfrm>
          <a:custGeom>
            <a:avLst/>
            <a:gdLst>
              <a:gd name="connsiteX0" fmla="*/ 0 w 1080000"/>
              <a:gd name="connsiteY0" fmla="*/ 0 h 1080000"/>
              <a:gd name="connsiteX1" fmla="*/ 20163 w 1080000"/>
              <a:gd name="connsiteY1" fmla="*/ 0 h 1080000"/>
              <a:gd name="connsiteX2" fmla="*/ 110971 w 1080000"/>
              <a:gd name="connsiteY2" fmla="*/ 4585 h 1080000"/>
              <a:gd name="connsiteX3" fmla="*/ 1075415 w 1080000"/>
              <a:gd name="connsiteY3" fmla="*/ 969029 h 1080000"/>
              <a:gd name="connsiteX4" fmla="*/ 1080000 w 1080000"/>
              <a:gd name="connsiteY4" fmla="*/ 1059837 h 1080000"/>
              <a:gd name="connsiteX5" fmla="*/ 1080000 w 1080000"/>
              <a:gd name="connsiteY5" fmla="*/ 1080000 h 1080000"/>
              <a:gd name="connsiteX6" fmla="*/ 0 w 1080000"/>
              <a:gd name="connsiteY6" fmla="*/ 1080000 h 10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80000" h="1080000">
                <a:moveTo>
                  <a:pt x="0" y="0"/>
                </a:moveTo>
                <a:lnTo>
                  <a:pt x="20163" y="0"/>
                </a:lnTo>
                <a:lnTo>
                  <a:pt x="110971" y="4585"/>
                </a:lnTo>
                <a:cubicBezTo>
                  <a:pt x="619496" y="56229"/>
                  <a:pt x="1023771" y="460506"/>
                  <a:pt x="1075415" y="969029"/>
                </a:cubicBezTo>
                <a:lnTo>
                  <a:pt x="1080000" y="1059837"/>
                </a:lnTo>
                <a:lnTo>
                  <a:pt x="1080000" y="1080000"/>
                </a:lnTo>
                <a:lnTo>
                  <a:pt x="0" y="1080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573EF76B-935C-B99F-96C0-11B5910719A0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172676" y="689441"/>
            <a:ext cx="1659599" cy="1659599"/>
          </a:xfrm>
          <a:custGeom>
            <a:avLst/>
            <a:gdLst>
              <a:gd name="connsiteX0" fmla="*/ 815071 w 1659599"/>
              <a:gd name="connsiteY0" fmla="*/ 0 h 1659599"/>
              <a:gd name="connsiteX1" fmla="*/ 845292 w 1659599"/>
              <a:gd name="connsiteY1" fmla="*/ 0 h 1659599"/>
              <a:gd name="connsiteX2" fmla="*/ 915062 w 1659599"/>
              <a:gd name="connsiteY2" fmla="*/ 3523 h 1659599"/>
              <a:gd name="connsiteX3" fmla="*/ 1656076 w 1659599"/>
              <a:gd name="connsiteY3" fmla="*/ 744537 h 1659599"/>
              <a:gd name="connsiteX4" fmla="*/ 1659599 w 1659599"/>
              <a:gd name="connsiteY4" fmla="*/ 814308 h 1659599"/>
              <a:gd name="connsiteX5" fmla="*/ 1659599 w 1659599"/>
              <a:gd name="connsiteY5" fmla="*/ 844529 h 1659599"/>
              <a:gd name="connsiteX6" fmla="*/ 1658938 w 1659599"/>
              <a:gd name="connsiteY6" fmla="*/ 857619 h 1659599"/>
              <a:gd name="connsiteX7" fmla="*/ 1658938 w 1659599"/>
              <a:gd name="connsiteY7" fmla="*/ 1659598 h 1659599"/>
              <a:gd name="connsiteX8" fmla="*/ 830202 w 1659599"/>
              <a:gd name="connsiteY8" fmla="*/ 1659598 h 1659599"/>
              <a:gd name="connsiteX9" fmla="*/ 830181 w 1659599"/>
              <a:gd name="connsiteY9" fmla="*/ 1659599 h 1659599"/>
              <a:gd name="connsiteX10" fmla="*/ 830162 w 1659599"/>
              <a:gd name="connsiteY10" fmla="*/ 1659598 h 1659599"/>
              <a:gd name="connsiteX11" fmla="*/ 0 w 1659599"/>
              <a:gd name="connsiteY11" fmla="*/ 1659598 h 1659599"/>
              <a:gd name="connsiteX12" fmla="*/ 0 w 1659599"/>
              <a:gd name="connsiteY12" fmla="*/ 854081 h 1659599"/>
              <a:gd name="connsiteX13" fmla="*/ 1246 w 1659599"/>
              <a:gd name="connsiteY13" fmla="*/ 854081 h 1659599"/>
              <a:gd name="connsiteX14" fmla="*/ 0 w 1659599"/>
              <a:gd name="connsiteY14" fmla="*/ 829418 h 1659599"/>
              <a:gd name="connsiteX15" fmla="*/ 745300 w 1659599"/>
              <a:gd name="connsiteY15" fmla="*/ 3523 h 1659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659599" h="1659599">
                <a:moveTo>
                  <a:pt x="815071" y="0"/>
                </a:moveTo>
                <a:lnTo>
                  <a:pt x="845292" y="0"/>
                </a:lnTo>
                <a:lnTo>
                  <a:pt x="915062" y="3523"/>
                </a:lnTo>
                <a:cubicBezTo>
                  <a:pt x="1305779" y="43203"/>
                  <a:pt x="1616397" y="353822"/>
                  <a:pt x="1656076" y="744537"/>
                </a:cubicBezTo>
                <a:lnTo>
                  <a:pt x="1659599" y="814308"/>
                </a:lnTo>
                <a:lnTo>
                  <a:pt x="1659599" y="844529"/>
                </a:lnTo>
                <a:lnTo>
                  <a:pt x="1658938" y="857619"/>
                </a:lnTo>
                <a:lnTo>
                  <a:pt x="1658938" y="1659598"/>
                </a:lnTo>
                <a:lnTo>
                  <a:pt x="830202" y="1659598"/>
                </a:lnTo>
                <a:lnTo>
                  <a:pt x="830181" y="1659599"/>
                </a:lnTo>
                <a:lnTo>
                  <a:pt x="830162" y="1659598"/>
                </a:lnTo>
                <a:lnTo>
                  <a:pt x="0" y="1659598"/>
                </a:lnTo>
                <a:lnTo>
                  <a:pt x="0" y="854081"/>
                </a:lnTo>
                <a:lnTo>
                  <a:pt x="1246" y="854081"/>
                </a:lnTo>
                <a:lnTo>
                  <a:pt x="0" y="829418"/>
                </a:lnTo>
                <a:cubicBezTo>
                  <a:pt x="0" y="399578"/>
                  <a:pt x="326677" y="46037"/>
                  <a:pt x="745300" y="352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829740D5-D839-824A-228F-30B0741E994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311301" y="4419275"/>
            <a:ext cx="1659599" cy="1659599"/>
          </a:xfrm>
          <a:custGeom>
            <a:avLst/>
            <a:gdLst>
              <a:gd name="connsiteX0" fmla="*/ 815070 w 1659599"/>
              <a:gd name="connsiteY0" fmla="*/ 0 h 1659599"/>
              <a:gd name="connsiteX1" fmla="*/ 845292 w 1659599"/>
              <a:gd name="connsiteY1" fmla="*/ 0 h 1659599"/>
              <a:gd name="connsiteX2" fmla="*/ 915062 w 1659599"/>
              <a:gd name="connsiteY2" fmla="*/ 3523 h 1659599"/>
              <a:gd name="connsiteX3" fmla="*/ 1656076 w 1659599"/>
              <a:gd name="connsiteY3" fmla="*/ 744537 h 1659599"/>
              <a:gd name="connsiteX4" fmla="*/ 1659599 w 1659599"/>
              <a:gd name="connsiteY4" fmla="*/ 814307 h 1659599"/>
              <a:gd name="connsiteX5" fmla="*/ 1659599 w 1659599"/>
              <a:gd name="connsiteY5" fmla="*/ 829799 h 1659599"/>
              <a:gd name="connsiteX6" fmla="*/ 1659599 w 1659599"/>
              <a:gd name="connsiteY6" fmla="*/ 844529 h 1659599"/>
              <a:gd name="connsiteX7" fmla="*/ 1659599 w 1659599"/>
              <a:gd name="connsiteY7" fmla="*/ 1659599 h 1659599"/>
              <a:gd name="connsiteX8" fmla="*/ 830181 w 1659599"/>
              <a:gd name="connsiteY8" fmla="*/ 1659599 h 1659599"/>
              <a:gd name="connsiteX9" fmla="*/ 829799 w 1659599"/>
              <a:gd name="connsiteY9" fmla="*/ 1659599 h 1659599"/>
              <a:gd name="connsiteX10" fmla="*/ 829799 w 1659599"/>
              <a:gd name="connsiteY10" fmla="*/ 1659580 h 1659599"/>
              <a:gd name="connsiteX11" fmla="*/ 745300 w 1659599"/>
              <a:gd name="connsiteY11" fmla="*/ 1655313 h 1659599"/>
              <a:gd name="connsiteX12" fmla="*/ 0 w 1659599"/>
              <a:gd name="connsiteY12" fmla="*/ 829418 h 1659599"/>
              <a:gd name="connsiteX13" fmla="*/ 745300 w 1659599"/>
              <a:gd name="connsiteY13" fmla="*/ 3523 h 1659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59599" h="1659599">
                <a:moveTo>
                  <a:pt x="815070" y="0"/>
                </a:moveTo>
                <a:lnTo>
                  <a:pt x="845292" y="0"/>
                </a:lnTo>
                <a:lnTo>
                  <a:pt x="915062" y="3523"/>
                </a:lnTo>
                <a:cubicBezTo>
                  <a:pt x="1305779" y="43202"/>
                  <a:pt x="1616397" y="353821"/>
                  <a:pt x="1656076" y="744537"/>
                </a:cubicBezTo>
                <a:lnTo>
                  <a:pt x="1659599" y="814307"/>
                </a:lnTo>
                <a:lnTo>
                  <a:pt x="1659599" y="829799"/>
                </a:lnTo>
                <a:lnTo>
                  <a:pt x="1659599" y="844529"/>
                </a:lnTo>
                <a:lnTo>
                  <a:pt x="1659599" y="1659599"/>
                </a:lnTo>
                <a:lnTo>
                  <a:pt x="830181" y="1659599"/>
                </a:lnTo>
                <a:lnTo>
                  <a:pt x="829799" y="1659599"/>
                </a:lnTo>
                <a:lnTo>
                  <a:pt x="829799" y="1659580"/>
                </a:lnTo>
                <a:lnTo>
                  <a:pt x="745300" y="1655313"/>
                </a:lnTo>
                <a:cubicBezTo>
                  <a:pt x="326676" y="1612800"/>
                  <a:pt x="0" y="1259259"/>
                  <a:pt x="0" y="829418"/>
                </a:cubicBezTo>
                <a:cubicBezTo>
                  <a:pt x="0" y="399577"/>
                  <a:pt x="326677" y="46036"/>
                  <a:pt x="745300" y="352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200"/>
            </a:lvl1pPr>
          </a:lstStyle>
          <a:p>
            <a:pPr marL="0" lvl="0" indent="0" algn="ctr">
              <a:buNone/>
            </a:pPr>
            <a:r>
              <a:rPr lang="en-GB"/>
              <a:t>Click icon to add picture</a:t>
            </a:r>
            <a:endParaRPr lang="en-US"/>
          </a:p>
        </p:txBody>
      </p:sp>
      <p:sp>
        <p:nvSpPr>
          <p:cNvPr id="39" name="Picture Placeholder 61">
            <a:extLst>
              <a:ext uri="{FF2B5EF4-FFF2-40B4-BE49-F238E27FC236}">
                <a16:creationId xmlns:a16="http://schemas.microsoft.com/office/drawing/2014/main" id="{661825FB-019D-F930-588E-BDB0BD1AAA1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311301" y="2568092"/>
            <a:ext cx="1658938" cy="1658937"/>
          </a:xfrm>
          <a:custGeom>
            <a:avLst/>
            <a:gdLst>
              <a:gd name="connsiteX0" fmla="*/ 420761 w 1658938"/>
              <a:gd name="connsiteY0" fmla="*/ 0 h 1658937"/>
              <a:gd name="connsiteX1" fmla="*/ 1238177 w 1658938"/>
              <a:gd name="connsiteY1" fmla="*/ 0 h 1658937"/>
              <a:gd name="connsiteX2" fmla="*/ 1238177 w 1658938"/>
              <a:gd name="connsiteY2" fmla="*/ 415396 h 1658937"/>
              <a:gd name="connsiteX3" fmla="*/ 1658938 w 1658938"/>
              <a:gd name="connsiteY3" fmla="*/ 415396 h 1658937"/>
              <a:gd name="connsiteX4" fmla="*/ 1658938 w 1658938"/>
              <a:gd name="connsiteY4" fmla="*/ 1243541 h 1658937"/>
              <a:gd name="connsiteX5" fmla="*/ 1238177 w 1658938"/>
              <a:gd name="connsiteY5" fmla="*/ 1243541 h 1658937"/>
              <a:gd name="connsiteX6" fmla="*/ 1238177 w 1658938"/>
              <a:gd name="connsiteY6" fmla="*/ 1658937 h 1658937"/>
              <a:gd name="connsiteX7" fmla="*/ 420761 w 1658938"/>
              <a:gd name="connsiteY7" fmla="*/ 1658937 h 1658937"/>
              <a:gd name="connsiteX8" fmla="*/ 420761 w 1658938"/>
              <a:gd name="connsiteY8" fmla="*/ 1243541 h 1658937"/>
              <a:gd name="connsiteX9" fmla="*/ 0 w 1658938"/>
              <a:gd name="connsiteY9" fmla="*/ 1243541 h 1658937"/>
              <a:gd name="connsiteX10" fmla="*/ 0 w 1658938"/>
              <a:gd name="connsiteY10" fmla="*/ 415396 h 1658937"/>
              <a:gd name="connsiteX11" fmla="*/ 420761 w 1658938"/>
              <a:gd name="connsiteY11" fmla="*/ 415396 h 1658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658938" h="1658937">
                <a:moveTo>
                  <a:pt x="420761" y="0"/>
                </a:moveTo>
                <a:lnTo>
                  <a:pt x="1238177" y="0"/>
                </a:lnTo>
                <a:lnTo>
                  <a:pt x="1238177" y="415396"/>
                </a:lnTo>
                <a:lnTo>
                  <a:pt x="1658938" y="415396"/>
                </a:lnTo>
                <a:lnTo>
                  <a:pt x="1658938" y="1243541"/>
                </a:lnTo>
                <a:lnTo>
                  <a:pt x="1238177" y="1243541"/>
                </a:lnTo>
                <a:lnTo>
                  <a:pt x="1238177" y="1658937"/>
                </a:lnTo>
                <a:lnTo>
                  <a:pt x="420761" y="1658937"/>
                </a:lnTo>
                <a:lnTo>
                  <a:pt x="420761" y="1243541"/>
                </a:lnTo>
                <a:lnTo>
                  <a:pt x="0" y="1243541"/>
                </a:lnTo>
                <a:lnTo>
                  <a:pt x="0" y="415396"/>
                </a:lnTo>
                <a:lnTo>
                  <a:pt x="420761" y="41539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200"/>
            </a:lvl1pPr>
          </a:lstStyle>
          <a:p>
            <a:pPr marL="0" lvl="0" indent="0" algn="ctr">
              <a:buNone/>
            </a:pPr>
            <a:r>
              <a:rPr lang="en-GB"/>
              <a:t>Click icon to add picture</a:t>
            </a:r>
            <a:endParaRPr lang="en-US"/>
          </a:p>
        </p:txBody>
      </p:sp>
      <p:sp>
        <p:nvSpPr>
          <p:cNvPr id="40" name="Picture Placeholder 44">
            <a:extLst>
              <a:ext uri="{FF2B5EF4-FFF2-40B4-BE49-F238E27FC236}">
                <a16:creationId xmlns:a16="http://schemas.microsoft.com/office/drawing/2014/main" id="{FCD3F2F4-2063-F829-571A-3A400BA244A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78620" y="2560638"/>
            <a:ext cx="1658938" cy="1658937"/>
          </a:xfrm>
          <a:solidFill>
            <a:schemeClr val="bg1">
              <a:lumMod val="95000"/>
            </a:schemeClr>
          </a:solidFill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200"/>
            </a:lvl1pPr>
          </a:lstStyle>
          <a:p>
            <a:pPr marL="0" lvl="0" indent="0" algn="ctr">
              <a:buNone/>
            </a:pPr>
            <a:r>
              <a:rPr lang="en-GB"/>
              <a:t>Click icon to add picture</a:t>
            </a:r>
            <a:endParaRPr lang="en-US"/>
          </a:p>
        </p:txBody>
      </p:sp>
      <p:sp>
        <p:nvSpPr>
          <p:cNvPr id="42" name="Picture Placeholder 40">
            <a:extLst>
              <a:ext uri="{FF2B5EF4-FFF2-40B4-BE49-F238E27FC236}">
                <a16:creationId xmlns:a16="http://schemas.microsoft.com/office/drawing/2014/main" id="{8097482B-0B0C-BAC2-AB65-98C54BADAB3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041070" y="708780"/>
            <a:ext cx="1659599" cy="1659599"/>
          </a:xfrm>
          <a:custGeom>
            <a:avLst/>
            <a:gdLst>
              <a:gd name="connsiteX0" fmla="*/ 813966 w 1657350"/>
              <a:gd name="connsiteY0" fmla="*/ 0 h 1657350"/>
              <a:gd name="connsiteX1" fmla="*/ 844146 w 1657350"/>
              <a:gd name="connsiteY1" fmla="*/ 0 h 1657350"/>
              <a:gd name="connsiteX2" fmla="*/ 913822 w 1657350"/>
              <a:gd name="connsiteY2" fmla="*/ 3518 h 1657350"/>
              <a:gd name="connsiteX3" fmla="*/ 1653832 w 1657350"/>
              <a:gd name="connsiteY3" fmla="*/ 743528 h 1657350"/>
              <a:gd name="connsiteX4" fmla="*/ 1657350 w 1657350"/>
              <a:gd name="connsiteY4" fmla="*/ 813204 h 1657350"/>
              <a:gd name="connsiteX5" fmla="*/ 1657350 w 1657350"/>
              <a:gd name="connsiteY5" fmla="*/ 843384 h 1657350"/>
              <a:gd name="connsiteX6" fmla="*/ 1653832 w 1657350"/>
              <a:gd name="connsiteY6" fmla="*/ 913060 h 1657350"/>
              <a:gd name="connsiteX7" fmla="*/ 829056 w 1657350"/>
              <a:gd name="connsiteY7" fmla="*/ 1657350 h 1657350"/>
              <a:gd name="connsiteX8" fmla="*/ 0 w 1657350"/>
              <a:gd name="connsiteY8" fmla="*/ 828294 h 1657350"/>
              <a:gd name="connsiteX9" fmla="*/ 744290 w 1657350"/>
              <a:gd name="connsiteY9" fmla="*/ 3518 h 165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57350" h="1657350">
                <a:moveTo>
                  <a:pt x="813966" y="0"/>
                </a:moveTo>
                <a:lnTo>
                  <a:pt x="844146" y="0"/>
                </a:lnTo>
                <a:lnTo>
                  <a:pt x="913822" y="3518"/>
                </a:lnTo>
                <a:cubicBezTo>
                  <a:pt x="1304009" y="43144"/>
                  <a:pt x="1614206" y="353342"/>
                  <a:pt x="1653832" y="743528"/>
                </a:cubicBezTo>
                <a:lnTo>
                  <a:pt x="1657350" y="813204"/>
                </a:lnTo>
                <a:lnTo>
                  <a:pt x="1657350" y="843384"/>
                </a:lnTo>
                <a:lnTo>
                  <a:pt x="1653832" y="913060"/>
                </a:lnTo>
                <a:cubicBezTo>
                  <a:pt x="1611376" y="1331117"/>
                  <a:pt x="1258314" y="1657350"/>
                  <a:pt x="829056" y="1657350"/>
                </a:cubicBezTo>
                <a:cubicBezTo>
                  <a:pt x="371181" y="1657350"/>
                  <a:pt x="0" y="1286169"/>
                  <a:pt x="0" y="828294"/>
                </a:cubicBezTo>
                <a:cubicBezTo>
                  <a:pt x="0" y="399036"/>
                  <a:pt x="326234" y="45974"/>
                  <a:pt x="744290" y="351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3" name="Picture Placeholder 18">
            <a:extLst>
              <a:ext uri="{FF2B5EF4-FFF2-40B4-BE49-F238E27FC236}">
                <a16:creationId xmlns:a16="http://schemas.microsoft.com/office/drawing/2014/main" id="{D19B99FB-62A4-FD32-FDE0-172A115D36C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10639" y="708781"/>
            <a:ext cx="1659600" cy="1659600"/>
          </a:xfrm>
          <a:custGeom>
            <a:avLst/>
            <a:gdLst>
              <a:gd name="connsiteX0" fmla="*/ 14142 w 1640259"/>
              <a:gd name="connsiteY0" fmla="*/ 0 h 1640259"/>
              <a:gd name="connsiteX1" fmla="*/ 1640259 w 1640259"/>
              <a:gd name="connsiteY1" fmla="*/ 0 h 1640259"/>
              <a:gd name="connsiteX2" fmla="*/ 1640259 w 1640259"/>
              <a:gd name="connsiteY2" fmla="*/ 1640259 h 1640259"/>
              <a:gd name="connsiteX3" fmla="*/ 0 w 1640259"/>
              <a:gd name="connsiteY3" fmla="*/ 1640259 h 1640259"/>
              <a:gd name="connsiteX4" fmla="*/ 0 w 1640259"/>
              <a:gd name="connsiteY4" fmla="*/ 1626221 h 1640259"/>
              <a:gd name="connsiteX5" fmla="*/ 826152 w 1640259"/>
              <a:gd name="connsiteY5" fmla="*/ 806092 h 1640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40259" h="1640259">
                <a:moveTo>
                  <a:pt x="14142" y="0"/>
                </a:moveTo>
                <a:lnTo>
                  <a:pt x="1640259" y="0"/>
                </a:lnTo>
                <a:lnTo>
                  <a:pt x="1640259" y="1640259"/>
                </a:lnTo>
                <a:lnTo>
                  <a:pt x="0" y="1640259"/>
                </a:lnTo>
                <a:lnTo>
                  <a:pt x="0" y="1626221"/>
                </a:lnTo>
                <a:lnTo>
                  <a:pt x="826152" y="80609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804863" indent="0" algn="ctr">
              <a:buNone/>
              <a:defRPr sz="1200"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4" name="Picture Placeholder 43">
            <a:extLst>
              <a:ext uri="{FF2B5EF4-FFF2-40B4-BE49-F238E27FC236}">
                <a16:creationId xmlns:a16="http://schemas.microsoft.com/office/drawing/2014/main" id="{B096B7B4-0BF1-32E5-C466-442BE1DC10A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179033" y="4439039"/>
            <a:ext cx="1658112" cy="1658112"/>
          </a:xfrm>
          <a:custGeom>
            <a:avLst/>
            <a:gdLst>
              <a:gd name="connsiteX0" fmla="*/ 829056 w 1658112"/>
              <a:gd name="connsiteY0" fmla="*/ 0 h 1658112"/>
              <a:gd name="connsiteX1" fmla="*/ 1658112 w 1658112"/>
              <a:gd name="connsiteY1" fmla="*/ 829056 h 1658112"/>
              <a:gd name="connsiteX2" fmla="*/ 829056 w 1658112"/>
              <a:gd name="connsiteY2" fmla="*/ 1658112 h 1658112"/>
              <a:gd name="connsiteX3" fmla="*/ 0 w 1658112"/>
              <a:gd name="connsiteY3" fmla="*/ 829056 h 1658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58112" h="1658112">
                <a:moveTo>
                  <a:pt x="829056" y="0"/>
                </a:moveTo>
                <a:lnTo>
                  <a:pt x="1658112" y="829056"/>
                </a:lnTo>
                <a:lnTo>
                  <a:pt x="829056" y="1658112"/>
                </a:lnTo>
                <a:lnTo>
                  <a:pt x="0" y="8290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200"/>
            </a:lvl1pPr>
          </a:lstStyle>
          <a:p>
            <a:pPr marL="0" lvl="0" indent="0" algn="ctr">
              <a:buNone/>
            </a:pPr>
            <a:r>
              <a:rPr lang="en-GB"/>
              <a:t>Click icon to add picture</a:t>
            </a:r>
            <a:endParaRPr lang="en-US"/>
          </a:p>
        </p:txBody>
      </p:sp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FF6A9EBF-63D9-1DEF-29BB-0A1289F6F1FA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0077268" y="4438627"/>
            <a:ext cx="1658112" cy="1658937"/>
          </a:xfrm>
          <a:custGeom>
            <a:avLst/>
            <a:gdLst>
              <a:gd name="connsiteX0" fmla="*/ 0 w 1658112"/>
              <a:gd name="connsiteY0" fmla="*/ 0 h 1658937"/>
              <a:gd name="connsiteX1" fmla="*/ 829469 w 1658112"/>
              <a:gd name="connsiteY1" fmla="*/ 0 h 1658937"/>
              <a:gd name="connsiteX2" fmla="*/ 829469 w 1658112"/>
              <a:gd name="connsiteY2" fmla="*/ 825 h 1658937"/>
              <a:gd name="connsiteX3" fmla="*/ 1658112 w 1658112"/>
              <a:gd name="connsiteY3" fmla="*/ 829468 h 1658937"/>
              <a:gd name="connsiteX4" fmla="*/ 829469 w 1658112"/>
              <a:gd name="connsiteY4" fmla="*/ 1658111 h 1658937"/>
              <a:gd name="connsiteX5" fmla="*/ 829469 w 1658112"/>
              <a:gd name="connsiteY5" fmla="*/ 1658937 h 1658937"/>
              <a:gd name="connsiteX6" fmla="*/ 0 w 1658112"/>
              <a:gd name="connsiteY6" fmla="*/ 1658937 h 1658937"/>
              <a:gd name="connsiteX7" fmla="*/ 0 w 1658112"/>
              <a:gd name="connsiteY7" fmla="*/ 829468 h 1658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58112" h="1658937">
                <a:moveTo>
                  <a:pt x="0" y="0"/>
                </a:moveTo>
                <a:lnTo>
                  <a:pt x="829469" y="0"/>
                </a:lnTo>
                <a:lnTo>
                  <a:pt x="829469" y="825"/>
                </a:lnTo>
                <a:lnTo>
                  <a:pt x="1658112" y="829468"/>
                </a:lnTo>
                <a:lnTo>
                  <a:pt x="829469" y="1658111"/>
                </a:lnTo>
                <a:lnTo>
                  <a:pt x="829469" y="1658937"/>
                </a:lnTo>
                <a:lnTo>
                  <a:pt x="0" y="1658937"/>
                </a:lnTo>
                <a:lnTo>
                  <a:pt x="0" y="82946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200"/>
            </a:lvl1pPr>
          </a:lstStyle>
          <a:p>
            <a:pPr marL="0" lvl="0" indent="0" algn="ctr">
              <a:buNone/>
            </a:pPr>
            <a:r>
              <a:rPr lang="en-GB"/>
              <a:t>Click icon to add picture</a:t>
            </a:r>
            <a:endParaRPr lang="en-US"/>
          </a:p>
        </p:txBody>
      </p:sp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06FE84E9-108D-7548-07C9-F443586B5D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9431" y="1570933"/>
            <a:ext cx="5351270" cy="459491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95559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Retail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raphic 5">
            <a:extLst>
              <a:ext uri="{FF2B5EF4-FFF2-40B4-BE49-F238E27FC236}">
                <a16:creationId xmlns:a16="http://schemas.microsoft.com/office/drawing/2014/main" id="{219F7922-7D50-C515-ADC0-6A03F015C4D2}"/>
              </a:ext>
            </a:extLst>
          </p:cNvPr>
          <p:cNvSpPr/>
          <p:nvPr userDrawn="1"/>
        </p:nvSpPr>
        <p:spPr>
          <a:xfrm rot="16200000">
            <a:off x="1" y="0"/>
            <a:ext cx="6857999" cy="6858000"/>
          </a:xfrm>
          <a:custGeom>
            <a:avLst/>
            <a:gdLst>
              <a:gd name="connsiteX0" fmla="*/ 6858000 w 6857999"/>
              <a:gd name="connsiteY0" fmla="*/ 3429000 h 6858000"/>
              <a:gd name="connsiteX1" fmla="*/ 3429000 w 6857999"/>
              <a:gd name="connsiteY1" fmla="*/ 6858000 h 6858000"/>
              <a:gd name="connsiteX2" fmla="*/ 0 w 6857999"/>
              <a:gd name="connsiteY2" fmla="*/ 6858000 h 6858000"/>
              <a:gd name="connsiteX3" fmla="*/ 0 w 6857999"/>
              <a:gd name="connsiteY3" fmla="*/ 0 h 6858000"/>
              <a:gd name="connsiteX4" fmla="*/ 3429000 w 6857999"/>
              <a:gd name="connsiteY4" fmla="*/ 0 h 6858000"/>
              <a:gd name="connsiteX5" fmla="*/ 6858000 w 6857999"/>
              <a:gd name="connsiteY5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7999" h="6858000">
                <a:moveTo>
                  <a:pt x="6858000" y="3429000"/>
                </a:moveTo>
                <a:lnTo>
                  <a:pt x="3429000" y="6858000"/>
                </a:lnTo>
                <a:lnTo>
                  <a:pt x="0" y="6858000"/>
                </a:lnTo>
                <a:lnTo>
                  <a:pt x="0" y="0"/>
                </a:lnTo>
                <a:lnTo>
                  <a:pt x="3429000" y="0"/>
                </a:lnTo>
                <a:lnTo>
                  <a:pt x="6858000" y="3429000"/>
                </a:lnTo>
                <a:close/>
              </a:path>
            </a:pathLst>
          </a:custGeom>
          <a:gradFill>
            <a:gsLst>
              <a:gs pos="100000">
                <a:srgbClr val="133AF5"/>
              </a:gs>
              <a:gs pos="0">
                <a:srgbClr val="071F65"/>
              </a:gs>
            </a:gsLst>
            <a:lin ang="20774429" scaled="1"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DF11862-76B8-3837-158E-7C4E37DAE92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864096" y="1"/>
            <a:ext cx="5327904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765A5C9-E1F7-3348-23BF-EA6EF843BA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938" y="0"/>
            <a:ext cx="1600200" cy="8001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A3C314D-AA1C-BD6B-53EE-B2AFEF0CEF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9" y="2076653"/>
            <a:ext cx="5580062" cy="1352347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68FD561F-548F-7BC4-68DD-DF210EAE87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8893" y="3964506"/>
            <a:ext cx="5567108" cy="323165"/>
          </a:xfrm>
          <a:noFill/>
        </p:spPr>
        <p:txBody>
          <a:bodyPr wrap="square" lIns="0" tIns="0" rIns="0" bIns="0" rtlCol="0" anchor="b">
            <a:noAutofit/>
          </a:bodyPr>
          <a:lstStyle>
            <a:lvl1pPr marL="0" indent="0">
              <a:spcBef>
                <a:spcPts val="0"/>
              </a:spcBef>
              <a:buNone/>
              <a:defRPr lang="en-US" sz="1600" smtClean="0">
                <a:solidFill>
                  <a:schemeClr val="bg1"/>
                </a:solidFill>
                <a:latin typeface="+mn-lt"/>
              </a:defRPr>
            </a:lvl1pPr>
            <a:lvl2pPr>
              <a:defRPr lang="en-US" smtClean="0"/>
            </a:lvl2pPr>
            <a:lvl3pPr>
              <a:defRPr lang="en-US" sz="1800" smtClean="0"/>
            </a:lvl3pPr>
            <a:lvl4pPr>
              <a:defRPr lang="en-US" sz="1800" smtClean="0"/>
            </a:lvl4pPr>
            <a:lvl5pPr>
              <a:defRPr lang="en-US" sz="1800"/>
            </a:lvl5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C40B468B-808F-C8DF-1C5B-B5DDE29036A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3465472"/>
            <a:ext cx="5567108" cy="507216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 algn="l">
              <a:buNone/>
              <a:defRPr>
                <a:solidFill>
                  <a:schemeClr val="bg1"/>
                </a:solidFill>
              </a:defRPr>
            </a:lvl2pPr>
            <a:lvl3pPr marL="914400" indent="0" algn="l">
              <a:buNone/>
              <a:defRPr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bg1"/>
                </a:solidFill>
              </a:defRPr>
            </a:lvl4pPr>
            <a:lvl5pPr marL="1828800" indent="0" algn="l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A2E2189D-811F-B254-A719-F418284EAF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2926" y="1376363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subheading</a:t>
            </a:r>
          </a:p>
        </p:txBody>
      </p:sp>
    </p:spTree>
    <p:extLst>
      <p:ext uri="{BB962C8B-B14F-4D97-AF65-F5344CB8AC3E}">
        <p14:creationId xmlns:p14="http://schemas.microsoft.com/office/powerpoint/2010/main" val="13932295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heading-Content-Red">
    <p:bg>
      <p:bgPr>
        <a:gradFill>
          <a:gsLst>
            <a:gs pos="100000">
              <a:schemeClr val="accent3"/>
            </a:gs>
            <a:gs pos="0">
              <a:schemeClr val="accent2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D55B11-6C50-8A86-2B8C-26847A5FF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255612-95C8-7D48-6058-D92907752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0EDBEC5-E0C9-5B55-60BC-7F2B763EC4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5"/>
            <a:ext cx="8446294" cy="431388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ijdelijke aanduiding voor tekst 5">
            <a:extLst>
              <a:ext uri="{FF2B5EF4-FFF2-40B4-BE49-F238E27FC236}">
                <a16:creationId xmlns:a16="http://schemas.microsoft.com/office/drawing/2014/main" id="{868273A6-6C44-93C0-DCB4-F2CD9DD02B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4062532-79DB-1786-4D8F-6E1804A739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8" y="1542197"/>
            <a:ext cx="11160125" cy="46236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B1446A17-2787-4BCE-7C3A-FFEC68B208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5518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heading-Content-Blue">
    <p:bg>
      <p:bgPr>
        <a:gradFill flip="none" rotWithShape="1">
          <a:gsLst>
            <a:gs pos="0">
              <a:schemeClr val="accent4"/>
            </a:gs>
            <a:gs pos="100000">
              <a:schemeClr val="accent5"/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D55B11-6C50-8A86-2B8C-26847A5FF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255612-95C8-7D48-6058-D92907752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4DFF0CD-40BD-86FE-5370-72306F22AA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73FF59D-28AB-1F6C-955D-1E24664CFC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5"/>
            <a:ext cx="8446294" cy="431388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ijdelijke aanduiding voor tekst 5">
            <a:extLst>
              <a:ext uri="{FF2B5EF4-FFF2-40B4-BE49-F238E27FC236}">
                <a16:creationId xmlns:a16="http://schemas.microsoft.com/office/drawing/2014/main" id="{6BFF2FDC-0A98-F42C-AEA4-952A4B703B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2344789-87EC-7F91-83F6-276968A2BE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8" y="1542197"/>
            <a:ext cx="11160125" cy="46236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3384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heading- 2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7">
            <a:extLst>
              <a:ext uri="{FF2B5EF4-FFF2-40B4-BE49-F238E27FC236}">
                <a16:creationId xmlns:a16="http://schemas.microsoft.com/office/drawing/2014/main" id="{1B095602-342F-6F53-B356-C0D1413CD9D2}"/>
              </a:ext>
            </a:extLst>
          </p:cNvPr>
          <p:cNvSpPr/>
          <p:nvPr userDrawn="1"/>
        </p:nvSpPr>
        <p:spPr>
          <a:xfrm>
            <a:off x="6373506" y="1733266"/>
            <a:ext cx="5302556" cy="443258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D55B11-6C50-8A86-2B8C-26847A5FF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255612-95C8-7D48-6058-D92907752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20AC8-9871-4AEB-A36A-D6BEF7DDDDB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jdelijke aanduiding voor tekst 5">
            <a:extLst>
              <a:ext uri="{FF2B5EF4-FFF2-40B4-BE49-F238E27FC236}">
                <a16:creationId xmlns:a16="http://schemas.microsoft.com/office/drawing/2014/main" id="{037B82A1-4765-BE83-7588-6E5B0772F64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D855DE8-86A3-35BC-BC32-CDAD5E7F7B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268F7886-7BDE-6B11-CCF7-274CCB3FF0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5"/>
            <a:ext cx="8446294" cy="431388"/>
          </a:xfrm>
        </p:spPr>
        <p:txBody>
          <a:bodyPr/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BC834891-E7B5-EBD9-1D87-8254EC6ED5E5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515939" y="1612900"/>
            <a:ext cx="5580062" cy="45529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6EF26E5-2F36-D0EB-B3B4-6925CA4150B9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614322" y="1935396"/>
            <a:ext cx="4859192" cy="405597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1608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heading- 2 blocks - Red">
    <p:bg>
      <p:bgPr>
        <a:gradFill>
          <a:gsLst>
            <a:gs pos="100000">
              <a:schemeClr val="accent3"/>
            </a:gs>
            <a:gs pos="0">
              <a:schemeClr val="accent2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D55B11-6C50-8A86-2B8C-26847A5FF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255612-95C8-7D48-6058-D92907752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A389F42-4065-7F6F-6D26-FABE51D38D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5"/>
            <a:ext cx="5566569" cy="431388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Tijdelijke aanduiding voor tekst 5">
            <a:extLst>
              <a:ext uri="{FF2B5EF4-FFF2-40B4-BE49-F238E27FC236}">
                <a16:creationId xmlns:a16="http://schemas.microsoft.com/office/drawing/2014/main" id="{037B82A1-4765-BE83-7588-6E5B0772F64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830B2C0-2B8C-1784-461D-B5DA45A7D5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9" y="1612900"/>
            <a:ext cx="5580062" cy="45529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Rechthoek 11">
            <a:extLst>
              <a:ext uri="{FF2B5EF4-FFF2-40B4-BE49-F238E27FC236}">
                <a16:creationId xmlns:a16="http://schemas.microsoft.com/office/drawing/2014/main" id="{825F440B-9E71-F5A3-A270-E2EB13A2F304}"/>
              </a:ext>
            </a:extLst>
          </p:cNvPr>
          <p:cNvSpPr/>
          <p:nvPr userDrawn="1"/>
        </p:nvSpPr>
        <p:spPr>
          <a:xfrm>
            <a:off x="6373504" y="1610436"/>
            <a:ext cx="5302559" cy="4555414"/>
          </a:xfrm>
          <a:prstGeom prst="rect">
            <a:avLst/>
          </a:prstGeom>
          <a:solidFill>
            <a:schemeClr val="bg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D19C21C-8203-CEDB-A2AF-F9548E4C95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03C6846E-510B-5ABD-24E6-19F096D0BEAE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614322" y="1935396"/>
            <a:ext cx="4859192" cy="405597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59456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heading- 2 blocks - Blue">
    <p:bg>
      <p:bgPr>
        <a:gradFill flip="none" rotWithShape="1">
          <a:gsLst>
            <a:gs pos="0">
              <a:schemeClr val="accent4"/>
            </a:gs>
            <a:gs pos="100000">
              <a:schemeClr val="accent5"/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D55B11-6C50-8A86-2B8C-26847A5FF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255612-95C8-7D48-6058-D92907752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4DFF0CD-40BD-86FE-5370-72306F22AA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073BD461-1E2B-4331-259C-A360DCCE2B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5"/>
            <a:ext cx="5566569" cy="431388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Tijdelijke aanduiding voor tekst 5">
            <a:extLst>
              <a:ext uri="{FF2B5EF4-FFF2-40B4-BE49-F238E27FC236}">
                <a16:creationId xmlns:a16="http://schemas.microsoft.com/office/drawing/2014/main" id="{1BD4EDBB-934D-8FDD-10FD-9AAC182438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0D638F5-83F9-F55C-8EDA-73F9B61C5C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9" y="1612900"/>
            <a:ext cx="5580062" cy="45529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Rechthoek 11">
            <a:extLst>
              <a:ext uri="{FF2B5EF4-FFF2-40B4-BE49-F238E27FC236}">
                <a16:creationId xmlns:a16="http://schemas.microsoft.com/office/drawing/2014/main" id="{D2BC8625-87FD-3C32-F466-CFE17BACFAD0}"/>
              </a:ext>
            </a:extLst>
          </p:cNvPr>
          <p:cNvSpPr/>
          <p:nvPr userDrawn="1"/>
        </p:nvSpPr>
        <p:spPr>
          <a:xfrm>
            <a:off x="6373504" y="1610436"/>
            <a:ext cx="5302559" cy="4555414"/>
          </a:xfrm>
          <a:prstGeom prst="rect">
            <a:avLst/>
          </a:prstGeom>
          <a:solidFill>
            <a:schemeClr val="bg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972C6ED-2658-8110-A5F4-A67F94F810A1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614322" y="1935396"/>
            <a:ext cx="4859192" cy="405597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06960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heading- 3 bloc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>
            <a:extLst>
              <a:ext uri="{FF2B5EF4-FFF2-40B4-BE49-F238E27FC236}">
                <a16:creationId xmlns:a16="http://schemas.microsoft.com/office/drawing/2014/main" id="{307134C5-04BA-2790-7C2C-245D7DE4044D}"/>
              </a:ext>
            </a:extLst>
          </p:cNvPr>
          <p:cNvSpPr/>
          <p:nvPr userDrawn="1"/>
        </p:nvSpPr>
        <p:spPr>
          <a:xfrm>
            <a:off x="515938" y="1733266"/>
            <a:ext cx="3527010" cy="443258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hthoek 11">
            <a:extLst>
              <a:ext uri="{FF2B5EF4-FFF2-40B4-BE49-F238E27FC236}">
                <a16:creationId xmlns:a16="http://schemas.microsoft.com/office/drawing/2014/main" id="{CACFDE1A-6ACE-7BC4-5C6E-CBF5A9A7CE9A}"/>
              </a:ext>
            </a:extLst>
          </p:cNvPr>
          <p:cNvSpPr/>
          <p:nvPr userDrawn="1"/>
        </p:nvSpPr>
        <p:spPr>
          <a:xfrm>
            <a:off x="4332495" y="1733266"/>
            <a:ext cx="3527010" cy="443258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4DF4B2D1-BC0D-2CED-7092-C45FE54BC73B}"/>
              </a:ext>
            </a:extLst>
          </p:cNvPr>
          <p:cNvSpPr/>
          <p:nvPr userDrawn="1"/>
        </p:nvSpPr>
        <p:spPr>
          <a:xfrm>
            <a:off x="8149053" y="1733266"/>
            <a:ext cx="3527010" cy="443258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D55B11-6C50-8A86-2B8C-26847A5FF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D0E2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255612-95C8-7D48-6058-D92907752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D0E20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0EDBEC5-E0C9-5B55-60BC-7F2B763EC4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5"/>
            <a:ext cx="8446294" cy="431388"/>
          </a:xfrm>
        </p:spPr>
        <p:txBody>
          <a:bodyPr/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ijdelijke aanduiding voor tekst 5">
            <a:extLst>
              <a:ext uri="{FF2B5EF4-FFF2-40B4-BE49-F238E27FC236}">
                <a16:creationId xmlns:a16="http://schemas.microsoft.com/office/drawing/2014/main" id="{868273A6-6C44-93C0-DCB4-F2CD9DD02B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4062532-79DB-1786-4D8F-6E1804A739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6979" y="1949044"/>
            <a:ext cx="3047908" cy="405597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8F850D17-A3E9-5B8D-01F2-21ACFBCC87BB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559021" y="1935396"/>
            <a:ext cx="3047908" cy="405597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6E35308-F433-9580-88FF-B8ACC8BC2009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367416" y="1921748"/>
            <a:ext cx="3047908" cy="405597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AA9BE3D-8B43-17E3-20BD-F671F20EBB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1502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heading- 3 blocks - Red">
    <p:bg>
      <p:bgPr>
        <a:gradFill>
          <a:gsLst>
            <a:gs pos="100000">
              <a:schemeClr val="accent3"/>
            </a:gs>
            <a:gs pos="0">
              <a:schemeClr val="accent2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>
            <a:extLst>
              <a:ext uri="{FF2B5EF4-FFF2-40B4-BE49-F238E27FC236}">
                <a16:creationId xmlns:a16="http://schemas.microsoft.com/office/drawing/2014/main" id="{307134C5-04BA-2790-7C2C-245D7DE4044D}"/>
              </a:ext>
            </a:extLst>
          </p:cNvPr>
          <p:cNvSpPr/>
          <p:nvPr userDrawn="1"/>
        </p:nvSpPr>
        <p:spPr>
          <a:xfrm>
            <a:off x="515938" y="1733266"/>
            <a:ext cx="3527010" cy="443258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hthoek 11">
            <a:extLst>
              <a:ext uri="{FF2B5EF4-FFF2-40B4-BE49-F238E27FC236}">
                <a16:creationId xmlns:a16="http://schemas.microsoft.com/office/drawing/2014/main" id="{CACFDE1A-6ACE-7BC4-5C6E-CBF5A9A7CE9A}"/>
              </a:ext>
            </a:extLst>
          </p:cNvPr>
          <p:cNvSpPr/>
          <p:nvPr userDrawn="1"/>
        </p:nvSpPr>
        <p:spPr>
          <a:xfrm>
            <a:off x="4361396" y="1733266"/>
            <a:ext cx="3527010" cy="443258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4DF4B2D1-BC0D-2CED-7092-C45FE54BC73B}"/>
              </a:ext>
            </a:extLst>
          </p:cNvPr>
          <p:cNvSpPr/>
          <p:nvPr userDrawn="1"/>
        </p:nvSpPr>
        <p:spPr>
          <a:xfrm>
            <a:off x="8206855" y="1733266"/>
            <a:ext cx="3527010" cy="443258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D55B11-6C50-8A86-2B8C-26847A5FF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255612-95C8-7D48-6058-D92907752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0EDBEC5-E0C9-5B55-60BC-7F2B763EC4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5"/>
            <a:ext cx="8446294" cy="431388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ijdelijke aanduiding voor tekst 5">
            <a:extLst>
              <a:ext uri="{FF2B5EF4-FFF2-40B4-BE49-F238E27FC236}">
                <a16:creationId xmlns:a16="http://schemas.microsoft.com/office/drawing/2014/main" id="{868273A6-6C44-93C0-DCB4-F2CD9DD02B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4062532-79DB-1786-4D8F-6E1804A739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6979" y="1949044"/>
            <a:ext cx="3047908" cy="405597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8F850D17-A3E9-5B8D-01F2-21ACFBCC87BB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587922" y="1935396"/>
            <a:ext cx="3047908" cy="405597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6E35308-F433-9580-88FF-B8ACC8BC2009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425218" y="1921748"/>
            <a:ext cx="3047908" cy="405597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2DA25075-412D-DDFD-BB51-2FB56C54EE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50543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-subheading- 3 blocks - Blue">
    <p:bg>
      <p:bgPr>
        <a:gradFill flip="none" rotWithShape="1">
          <a:gsLst>
            <a:gs pos="0">
              <a:schemeClr val="accent4"/>
            </a:gs>
            <a:gs pos="100000">
              <a:schemeClr val="accent5"/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D55B11-6C50-8A86-2B8C-26847A5FF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255612-95C8-7D48-6058-D92907752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4DFF0CD-40BD-86FE-5370-72306F22AA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  <p:sp>
        <p:nvSpPr>
          <p:cNvPr id="3" name="Rechthoek 7">
            <a:extLst>
              <a:ext uri="{FF2B5EF4-FFF2-40B4-BE49-F238E27FC236}">
                <a16:creationId xmlns:a16="http://schemas.microsoft.com/office/drawing/2014/main" id="{69E303FF-87AD-5FDA-361E-D2FFF08BE445}"/>
              </a:ext>
            </a:extLst>
          </p:cNvPr>
          <p:cNvSpPr/>
          <p:nvPr userDrawn="1"/>
        </p:nvSpPr>
        <p:spPr>
          <a:xfrm>
            <a:off x="515938" y="1733266"/>
            <a:ext cx="3527010" cy="443258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" name="Rechthoek 11">
            <a:extLst>
              <a:ext uri="{FF2B5EF4-FFF2-40B4-BE49-F238E27FC236}">
                <a16:creationId xmlns:a16="http://schemas.microsoft.com/office/drawing/2014/main" id="{764DF0CA-F9AA-E80B-A1E9-020556F55419}"/>
              </a:ext>
            </a:extLst>
          </p:cNvPr>
          <p:cNvSpPr/>
          <p:nvPr userDrawn="1"/>
        </p:nvSpPr>
        <p:spPr>
          <a:xfrm>
            <a:off x="4361396" y="1733266"/>
            <a:ext cx="3527010" cy="443258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Rechthoek 12">
            <a:extLst>
              <a:ext uri="{FF2B5EF4-FFF2-40B4-BE49-F238E27FC236}">
                <a16:creationId xmlns:a16="http://schemas.microsoft.com/office/drawing/2014/main" id="{8C584CE9-39B5-EE49-C597-C1CE47F781CA}"/>
              </a:ext>
            </a:extLst>
          </p:cNvPr>
          <p:cNvSpPr/>
          <p:nvPr userDrawn="1"/>
        </p:nvSpPr>
        <p:spPr>
          <a:xfrm>
            <a:off x="8206855" y="1733266"/>
            <a:ext cx="3527010" cy="443258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1129E00-2FFD-D981-31C2-88D771F3A8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5"/>
            <a:ext cx="8446294" cy="431388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Tijdelijke aanduiding voor tekst 5">
            <a:extLst>
              <a:ext uri="{FF2B5EF4-FFF2-40B4-BE49-F238E27FC236}">
                <a16:creationId xmlns:a16="http://schemas.microsoft.com/office/drawing/2014/main" id="{B09A80AA-95D0-9764-A084-F89FBD56FEE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232C1339-EEE5-67B5-A07B-6752C48AC7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6979" y="1949044"/>
            <a:ext cx="3047908" cy="405597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596138AF-DB42-2409-1A40-EE90D7109C49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587922" y="1935396"/>
            <a:ext cx="3047908" cy="405597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41A1A6C-42B6-76F3-9191-AE659D6D5A89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425218" y="1921748"/>
            <a:ext cx="3047908" cy="405597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849404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 + Photo 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EB509D8-BE36-B528-24A1-8075C57305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334000" y="0"/>
            <a:ext cx="6858000" cy="6858000"/>
          </a:xfrm>
          <a:custGeom>
            <a:avLst/>
            <a:gdLst>
              <a:gd name="connsiteX0" fmla="*/ 0 w 6858000"/>
              <a:gd name="connsiteY0" fmla="*/ 0 h 6858000"/>
              <a:gd name="connsiteX1" fmla="*/ 6858000 w 6858000"/>
              <a:gd name="connsiteY1" fmla="*/ 0 h 6858000"/>
              <a:gd name="connsiteX2" fmla="*/ 6858000 w 6858000"/>
              <a:gd name="connsiteY2" fmla="*/ 6858000 h 6858000"/>
              <a:gd name="connsiteX3" fmla="*/ 0 w 6858000"/>
              <a:gd name="connsiteY3" fmla="*/ 6858000 h 6858000"/>
              <a:gd name="connsiteX4" fmla="*/ 0 w 6858000"/>
              <a:gd name="connsiteY4" fmla="*/ 6857999 h 6858000"/>
              <a:gd name="connsiteX5" fmla="*/ 3428999 w 6858000"/>
              <a:gd name="connsiteY5" fmla="*/ 3429000 h 6858000"/>
              <a:gd name="connsiteX6" fmla="*/ 0 w 6858000"/>
              <a:gd name="connsiteY6" fmla="*/ 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58000" h="6858000">
                <a:moveTo>
                  <a:pt x="0" y="0"/>
                </a:moveTo>
                <a:lnTo>
                  <a:pt x="6858000" y="0"/>
                </a:lnTo>
                <a:lnTo>
                  <a:pt x="6858000" y="6858000"/>
                </a:lnTo>
                <a:lnTo>
                  <a:pt x="0" y="6858000"/>
                </a:lnTo>
                <a:lnTo>
                  <a:pt x="0" y="6857999"/>
                </a:lnTo>
                <a:lnTo>
                  <a:pt x="3428999" y="3429000"/>
                </a:lnTo>
                <a:lnTo>
                  <a:pt x="0" y="1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 anchor="ctr">
            <a:noAutofit/>
          </a:bodyPr>
          <a:lstStyle>
            <a:lvl1pPr marL="251460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D55B11-6C50-8A86-2B8C-26847A5FF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255612-95C8-7D48-6058-D92907752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20AC8-9871-4AEB-A36A-D6BEF7DDDDB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D017E2D-BEC5-E1CC-AFF4-48CA710E25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5"/>
            <a:ext cx="5328928" cy="597222"/>
          </a:xfrm>
        </p:spPr>
        <p:txBody>
          <a:bodyPr/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7BBB2C4-EB27-2A09-845E-31DFAFA754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8" y="1542197"/>
            <a:ext cx="5342421" cy="462365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ijdelijke aanduiding voor tekst 5">
            <a:extLst>
              <a:ext uri="{FF2B5EF4-FFF2-40B4-BE49-F238E27FC236}">
                <a16:creationId xmlns:a16="http://schemas.microsoft.com/office/drawing/2014/main" id="{FA1F1614-5ECE-B4BD-998A-15B3DDE3D8D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3740352" cy="385762"/>
          </a:xfrm>
        </p:spPr>
        <p:txBody>
          <a:bodyPr/>
          <a:lstStyle>
            <a:lvl1pPr marL="0" indent="0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866583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 + Photo R 2">
    <p:bg>
      <p:bgPr>
        <a:gradFill>
          <a:gsLst>
            <a:gs pos="0">
              <a:srgbClr val="7B112A"/>
            </a:gs>
            <a:gs pos="44000">
              <a:srgbClr val="B4292B"/>
            </a:gs>
            <a:gs pos="72000">
              <a:srgbClr val="EE422C"/>
            </a:gs>
          </a:gsLst>
          <a:lin ang="9021284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1E125F5F-6328-7C27-E181-5D0F87D342F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334000" y="0"/>
            <a:ext cx="6858000" cy="6858000"/>
          </a:xfrm>
          <a:custGeom>
            <a:avLst/>
            <a:gdLst>
              <a:gd name="connsiteX0" fmla="*/ 0 w 6858000"/>
              <a:gd name="connsiteY0" fmla="*/ 0 h 6858000"/>
              <a:gd name="connsiteX1" fmla="*/ 6858000 w 6858000"/>
              <a:gd name="connsiteY1" fmla="*/ 0 h 6858000"/>
              <a:gd name="connsiteX2" fmla="*/ 6858000 w 6858000"/>
              <a:gd name="connsiteY2" fmla="*/ 6858000 h 6858000"/>
              <a:gd name="connsiteX3" fmla="*/ 0 w 6858000"/>
              <a:gd name="connsiteY3" fmla="*/ 6858000 h 6858000"/>
              <a:gd name="connsiteX4" fmla="*/ 0 w 6858000"/>
              <a:gd name="connsiteY4" fmla="*/ 6857999 h 6858000"/>
              <a:gd name="connsiteX5" fmla="*/ 3428999 w 6858000"/>
              <a:gd name="connsiteY5" fmla="*/ 3429000 h 6858000"/>
              <a:gd name="connsiteX6" fmla="*/ 0 w 6858000"/>
              <a:gd name="connsiteY6" fmla="*/ 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58000" h="6858000">
                <a:moveTo>
                  <a:pt x="0" y="0"/>
                </a:moveTo>
                <a:lnTo>
                  <a:pt x="6858000" y="0"/>
                </a:lnTo>
                <a:lnTo>
                  <a:pt x="6858000" y="6858000"/>
                </a:lnTo>
                <a:lnTo>
                  <a:pt x="0" y="6858000"/>
                </a:lnTo>
                <a:lnTo>
                  <a:pt x="0" y="6857999"/>
                </a:lnTo>
                <a:lnTo>
                  <a:pt x="3428999" y="3429000"/>
                </a:lnTo>
                <a:lnTo>
                  <a:pt x="0" y="1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 anchor="ctr">
            <a:noAutofit/>
          </a:bodyPr>
          <a:lstStyle>
            <a:lvl1pPr marL="251460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D55B11-6C50-8A86-2B8C-26847A5FF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255612-95C8-7D48-6058-D92907752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51AD43-E972-E3D3-D024-41BB43887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5"/>
            <a:ext cx="5328928" cy="597222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F57E777-4EB0-9E91-7F4C-2D4AFD620A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8" y="1542197"/>
            <a:ext cx="5342421" cy="46236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ijdelijke aanduiding voor tekst 5">
            <a:extLst>
              <a:ext uri="{FF2B5EF4-FFF2-40B4-BE49-F238E27FC236}">
                <a16:creationId xmlns:a16="http://schemas.microsoft.com/office/drawing/2014/main" id="{DC20FA55-869D-30A7-B894-6E1F661AC4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3740352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385463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Financial Service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al 2">
            <a:extLst>
              <a:ext uri="{FF2B5EF4-FFF2-40B4-BE49-F238E27FC236}">
                <a16:creationId xmlns:a16="http://schemas.microsoft.com/office/drawing/2014/main" id="{70E1B432-1B4C-C8EB-5722-83103F2646C0}"/>
              </a:ext>
            </a:extLst>
          </p:cNvPr>
          <p:cNvSpPr/>
          <p:nvPr userDrawn="1"/>
        </p:nvSpPr>
        <p:spPr>
          <a:xfrm>
            <a:off x="0" y="0"/>
            <a:ext cx="6858000" cy="6858000"/>
          </a:xfrm>
          <a:prstGeom prst="ellipse">
            <a:avLst/>
          </a:prstGeom>
          <a:gradFill>
            <a:gsLst>
              <a:gs pos="1000">
                <a:schemeClr val="accent1"/>
              </a:gs>
              <a:gs pos="98000">
                <a:schemeClr val="accent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DF11862-76B8-3837-158E-7C4E37DAE92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864096" y="1"/>
            <a:ext cx="5327904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765A5C9-E1F7-3348-23BF-EA6EF843BA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938" y="0"/>
            <a:ext cx="1600200" cy="8001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A3C314D-AA1C-BD6B-53EE-B2AFEF0CEF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9" y="2076653"/>
            <a:ext cx="5580062" cy="1352347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68FD561F-548F-7BC4-68DD-DF210EAE87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8893" y="3964506"/>
            <a:ext cx="5567108" cy="323165"/>
          </a:xfrm>
          <a:noFill/>
        </p:spPr>
        <p:txBody>
          <a:bodyPr wrap="square" lIns="0" tIns="0" rIns="0" bIns="0" rtlCol="0" anchor="b">
            <a:noAutofit/>
          </a:bodyPr>
          <a:lstStyle>
            <a:lvl1pPr marL="0" indent="0">
              <a:spcBef>
                <a:spcPts val="0"/>
              </a:spcBef>
              <a:buNone/>
              <a:defRPr lang="en-US" sz="1600" smtClean="0">
                <a:solidFill>
                  <a:schemeClr val="bg1"/>
                </a:solidFill>
                <a:latin typeface="+mn-lt"/>
              </a:defRPr>
            </a:lvl1pPr>
            <a:lvl2pPr>
              <a:defRPr lang="en-US" smtClean="0"/>
            </a:lvl2pPr>
            <a:lvl3pPr>
              <a:defRPr lang="en-US" sz="1800" smtClean="0"/>
            </a:lvl3pPr>
            <a:lvl4pPr>
              <a:defRPr lang="en-US" sz="1800" smtClean="0"/>
            </a:lvl4pPr>
            <a:lvl5pPr>
              <a:defRPr lang="en-US" sz="1800"/>
            </a:lvl5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C40B468B-808F-C8DF-1C5B-B5DDE29036A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3465472"/>
            <a:ext cx="5567108" cy="507216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 algn="l">
              <a:buNone/>
              <a:defRPr>
                <a:solidFill>
                  <a:schemeClr val="bg1"/>
                </a:solidFill>
              </a:defRPr>
            </a:lvl2pPr>
            <a:lvl3pPr marL="914400" indent="0" algn="l">
              <a:buNone/>
              <a:defRPr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bg1"/>
                </a:solidFill>
              </a:defRPr>
            </a:lvl4pPr>
            <a:lvl5pPr marL="1828800" indent="0" algn="l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A2E2189D-811F-B254-A719-F418284EAF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2926" y="1376363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739686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L + Photo 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BEF09BBD-85A8-E75C-4E14-987D81EEBCD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334000" y="0"/>
            <a:ext cx="6858000" cy="6858000"/>
          </a:xfrm>
          <a:custGeom>
            <a:avLst/>
            <a:gdLst>
              <a:gd name="connsiteX0" fmla="*/ 0 w 6858000"/>
              <a:gd name="connsiteY0" fmla="*/ 0 h 6858000"/>
              <a:gd name="connsiteX1" fmla="*/ 6858000 w 6858000"/>
              <a:gd name="connsiteY1" fmla="*/ 0 h 6858000"/>
              <a:gd name="connsiteX2" fmla="*/ 6858000 w 6858000"/>
              <a:gd name="connsiteY2" fmla="*/ 6858000 h 6858000"/>
              <a:gd name="connsiteX3" fmla="*/ 0 w 6858000"/>
              <a:gd name="connsiteY3" fmla="*/ 6858000 h 6858000"/>
              <a:gd name="connsiteX4" fmla="*/ 0 w 6858000"/>
              <a:gd name="connsiteY4" fmla="*/ 6857999 h 6858000"/>
              <a:gd name="connsiteX5" fmla="*/ 3428999 w 6858000"/>
              <a:gd name="connsiteY5" fmla="*/ 3429000 h 6858000"/>
              <a:gd name="connsiteX6" fmla="*/ 0 w 6858000"/>
              <a:gd name="connsiteY6" fmla="*/ 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58000" h="6858000">
                <a:moveTo>
                  <a:pt x="0" y="0"/>
                </a:moveTo>
                <a:lnTo>
                  <a:pt x="6858000" y="0"/>
                </a:lnTo>
                <a:lnTo>
                  <a:pt x="6858000" y="6858000"/>
                </a:lnTo>
                <a:lnTo>
                  <a:pt x="0" y="6858000"/>
                </a:lnTo>
                <a:lnTo>
                  <a:pt x="0" y="6857999"/>
                </a:lnTo>
                <a:lnTo>
                  <a:pt x="3428999" y="3429000"/>
                </a:lnTo>
                <a:lnTo>
                  <a:pt x="0" y="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251460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3782C752-04B5-924D-BA3D-9CDD9A84CA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57EB7AE-644F-0CC7-7805-16B6DAF52A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286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4B1B86-BCBD-5288-9AC3-4965DDB0C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5"/>
            <a:ext cx="5328928" cy="597222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105FC6-0863-D8D4-828D-2A8A9EA0DF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8" y="1542197"/>
            <a:ext cx="5342421" cy="46236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Tijdelijke aanduiding voor tekst 5">
            <a:extLst>
              <a:ext uri="{FF2B5EF4-FFF2-40B4-BE49-F238E27FC236}">
                <a16:creationId xmlns:a16="http://schemas.microsoft.com/office/drawing/2014/main" id="{8B1BDA2E-5C1D-9F2C-4944-AB80386AAA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3740352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963257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 + Photo R 4">
    <p:bg>
      <p:bgPr>
        <a:gradFill flip="none" rotWithShape="1">
          <a:gsLst>
            <a:gs pos="11000">
              <a:schemeClr val="accent5"/>
            </a:gs>
            <a:gs pos="100000">
              <a:schemeClr val="accent1"/>
            </a:gs>
          </a:gsLst>
          <a:lin ang="108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1E125F5F-6328-7C27-E181-5D0F87D342F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334000" y="0"/>
            <a:ext cx="6858000" cy="6858000"/>
          </a:xfrm>
          <a:custGeom>
            <a:avLst/>
            <a:gdLst>
              <a:gd name="connsiteX0" fmla="*/ 0 w 6858000"/>
              <a:gd name="connsiteY0" fmla="*/ 0 h 6858000"/>
              <a:gd name="connsiteX1" fmla="*/ 6858000 w 6858000"/>
              <a:gd name="connsiteY1" fmla="*/ 0 h 6858000"/>
              <a:gd name="connsiteX2" fmla="*/ 6858000 w 6858000"/>
              <a:gd name="connsiteY2" fmla="*/ 6858000 h 6858000"/>
              <a:gd name="connsiteX3" fmla="*/ 0 w 6858000"/>
              <a:gd name="connsiteY3" fmla="*/ 6858000 h 6858000"/>
              <a:gd name="connsiteX4" fmla="*/ 0 w 6858000"/>
              <a:gd name="connsiteY4" fmla="*/ 6857999 h 6858000"/>
              <a:gd name="connsiteX5" fmla="*/ 3428999 w 6858000"/>
              <a:gd name="connsiteY5" fmla="*/ 3429000 h 6858000"/>
              <a:gd name="connsiteX6" fmla="*/ 0 w 6858000"/>
              <a:gd name="connsiteY6" fmla="*/ 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58000" h="6858000">
                <a:moveTo>
                  <a:pt x="0" y="0"/>
                </a:moveTo>
                <a:lnTo>
                  <a:pt x="6858000" y="0"/>
                </a:lnTo>
                <a:lnTo>
                  <a:pt x="6858000" y="6858000"/>
                </a:lnTo>
                <a:lnTo>
                  <a:pt x="0" y="6858000"/>
                </a:lnTo>
                <a:lnTo>
                  <a:pt x="0" y="6857999"/>
                </a:lnTo>
                <a:lnTo>
                  <a:pt x="3428999" y="3429000"/>
                </a:lnTo>
                <a:lnTo>
                  <a:pt x="0" y="1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 anchor="ctr">
            <a:noAutofit/>
          </a:bodyPr>
          <a:lstStyle>
            <a:lvl1pPr marL="251460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D55B11-6C50-8A86-2B8C-26847A5FF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255612-95C8-7D48-6058-D92907752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337EC3-1302-F7B4-4D4B-27419B314B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5"/>
            <a:ext cx="5328928" cy="597222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217CC80B-EB3F-4CCD-8F10-09FBED1B85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8" y="1542197"/>
            <a:ext cx="5342421" cy="46236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Tijdelijke aanduiding voor tekst 5">
            <a:extLst>
              <a:ext uri="{FF2B5EF4-FFF2-40B4-BE49-F238E27FC236}">
                <a16:creationId xmlns:a16="http://schemas.microsoft.com/office/drawing/2014/main" id="{62EB6A3F-4A6B-0D47-0B54-E0F78299DC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3740352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8657769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L + Photo R 5">
    <p:bg>
      <p:bgPr>
        <a:gradFill flip="none" rotWithShape="1">
          <a:gsLst>
            <a:gs pos="0">
              <a:srgbClr val="7B112A"/>
            </a:gs>
            <a:gs pos="44000">
              <a:srgbClr val="B4292B"/>
            </a:gs>
            <a:gs pos="72000">
              <a:srgbClr val="EE422C"/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8B14C85D-9412-7FD7-28F3-141E5B954BD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341485" y="1"/>
            <a:ext cx="6850515" cy="6876256"/>
          </a:xfrm>
          <a:custGeom>
            <a:avLst/>
            <a:gdLst>
              <a:gd name="connsiteX0" fmla="*/ 3381420 w 6850515"/>
              <a:gd name="connsiteY0" fmla="*/ 0 h 6856413"/>
              <a:gd name="connsiteX1" fmla="*/ 6850515 w 6850515"/>
              <a:gd name="connsiteY1" fmla="*/ 0 h 6856413"/>
              <a:gd name="connsiteX2" fmla="*/ 6850515 w 6850515"/>
              <a:gd name="connsiteY2" fmla="*/ 6856413 h 6856413"/>
              <a:gd name="connsiteX3" fmla="*/ 3474993 w 6850515"/>
              <a:gd name="connsiteY3" fmla="*/ 6856413 h 6856413"/>
              <a:gd name="connsiteX4" fmla="*/ 0 w 6850515"/>
              <a:gd name="connsiteY4" fmla="*/ 3381420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0515" h="6856413">
                <a:moveTo>
                  <a:pt x="3381420" y="0"/>
                </a:moveTo>
                <a:lnTo>
                  <a:pt x="6850515" y="0"/>
                </a:lnTo>
                <a:lnTo>
                  <a:pt x="6850515" y="6856413"/>
                </a:lnTo>
                <a:lnTo>
                  <a:pt x="3474993" y="6856413"/>
                </a:lnTo>
                <a:lnTo>
                  <a:pt x="0" y="338142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numCol="1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F1A6840-4E6B-62B8-347E-7F07BBEEEC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D7318ADC-E90A-B118-8389-41C99E7959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286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77628E-FA0F-3A13-68E9-2A7CE98AC6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5"/>
            <a:ext cx="5328928" cy="597222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4731B0-E65C-2AC1-4143-7792E2F51D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8" y="1542197"/>
            <a:ext cx="5342421" cy="46236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Tijdelijke aanduiding voor tekst 5">
            <a:extLst>
              <a:ext uri="{FF2B5EF4-FFF2-40B4-BE49-F238E27FC236}">
                <a16:creationId xmlns:a16="http://schemas.microsoft.com/office/drawing/2014/main" id="{94DF9B68-438C-06FF-9BD5-C080CB09B84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3740352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9620958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Photo L + Text 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6">
            <a:extLst>
              <a:ext uri="{FF2B5EF4-FFF2-40B4-BE49-F238E27FC236}">
                <a16:creationId xmlns:a16="http://schemas.microsoft.com/office/drawing/2014/main" id="{7C47E06B-8197-03A1-4F2E-F321BAD5E1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6122989" cy="6858001"/>
          </a:xfrm>
          <a:custGeom>
            <a:avLst/>
            <a:gdLst>
              <a:gd name="connsiteX0" fmla="*/ 0 w 6122989"/>
              <a:gd name="connsiteY0" fmla="*/ 0 h 6858001"/>
              <a:gd name="connsiteX1" fmla="*/ 6122989 w 6122989"/>
              <a:gd name="connsiteY1" fmla="*/ 0 h 6858001"/>
              <a:gd name="connsiteX2" fmla="*/ 6122989 w 6122989"/>
              <a:gd name="connsiteY2" fmla="*/ 1 h 6858001"/>
              <a:gd name="connsiteX3" fmla="*/ 6079151 w 6122989"/>
              <a:gd name="connsiteY3" fmla="*/ 1 h 6858001"/>
              <a:gd name="connsiteX4" fmla="*/ 2697731 w 6122989"/>
              <a:gd name="connsiteY4" fmla="*/ 3391207 h 6858001"/>
              <a:gd name="connsiteX5" fmla="*/ 6122989 w 6122989"/>
              <a:gd name="connsiteY5" fmla="*/ 6826378 h 6858001"/>
              <a:gd name="connsiteX6" fmla="*/ 6122989 w 6122989"/>
              <a:gd name="connsiteY6" fmla="*/ 6858001 h 6858001"/>
              <a:gd name="connsiteX7" fmla="*/ 0 w 6122989"/>
              <a:gd name="connsiteY7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122989" h="6858001">
                <a:moveTo>
                  <a:pt x="0" y="0"/>
                </a:moveTo>
                <a:lnTo>
                  <a:pt x="6122989" y="0"/>
                </a:lnTo>
                <a:lnTo>
                  <a:pt x="6122989" y="1"/>
                </a:lnTo>
                <a:lnTo>
                  <a:pt x="6079151" y="1"/>
                </a:lnTo>
                <a:lnTo>
                  <a:pt x="2697731" y="3391207"/>
                </a:lnTo>
                <a:lnTo>
                  <a:pt x="6122989" y="6826378"/>
                </a:lnTo>
                <a:lnTo>
                  <a:pt x="6122989" y="6858001"/>
                </a:lnTo>
                <a:lnTo>
                  <a:pt x="0" y="6858001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vert="horz" wrap="square" lIns="0" tIns="0" rIns="0" bIns="0" rtlCol="0" anchor="ctr">
            <a:noAutofit/>
          </a:bodyPr>
          <a:lstStyle>
            <a:lvl1pPr>
              <a:defRPr lang="en-US"/>
            </a:lvl1pPr>
          </a:lstStyle>
          <a:p>
            <a:pPr marL="714375" lvl="0" indent="0">
              <a:buNone/>
            </a:pPr>
            <a:r>
              <a:rPr lang="en-GB"/>
              <a:t>Click icon to add pictu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D55B11-6C50-8A86-2B8C-26847A5FF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255612-95C8-7D48-6058-D92907752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20AC8-9871-4AEB-A36A-D6BEF7DDDDB2}" type="slidenum">
              <a:rPr lang="en-US" smtClean="0"/>
              <a:t>‹#›</a:t>
            </a:fld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9E19BB5-6FB1-DBF1-F398-A0F2225507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A1CE0C40-2592-6FBB-8B22-678EF38E0898}"/>
              </a:ext>
            </a:extLst>
          </p:cNvPr>
          <p:cNvSpPr txBox="1">
            <a:spLocks/>
          </p:cNvSpPr>
          <p:nvPr userDrawn="1"/>
        </p:nvSpPr>
        <p:spPr>
          <a:xfrm>
            <a:off x="6347133" y="944975"/>
            <a:ext cx="5328928" cy="59722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142E6B9-5585-82DB-ED6F-495E55DFD65A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333640" y="1542197"/>
            <a:ext cx="5342421" cy="462365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Tijdelijke aanduiding voor tekst 5">
            <a:extLst>
              <a:ext uri="{FF2B5EF4-FFF2-40B4-BE49-F238E27FC236}">
                <a16:creationId xmlns:a16="http://schemas.microsoft.com/office/drawing/2014/main" id="{25C7B0DE-63B2-A751-2C07-22BEB6FC56B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47133" y="530478"/>
            <a:ext cx="3740352" cy="385762"/>
          </a:xfrm>
        </p:spPr>
        <p:txBody>
          <a:bodyPr/>
          <a:lstStyle>
            <a:lvl1pPr marL="0" indent="0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76AB28B-06CA-338A-3269-3E74309B8C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3640" y="944975"/>
            <a:ext cx="5328928" cy="597222"/>
          </a:xfrm>
        </p:spPr>
        <p:txBody>
          <a:bodyPr/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514961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Photo L + Text R - Red">
    <p:bg>
      <p:bgPr>
        <a:gradFill>
          <a:gsLst>
            <a:gs pos="0">
              <a:srgbClr val="7B112A"/>
            </a:gs>
            <a:gs pos="44000">
              <a:srgbClr val="B4292B"/>
            </a:gs>
            <a:gs pos="72000">
              <a:srgbClr val="EE422C"/>
            </a:gs>
          </a:gsLst>
          <a:lin ang="9021284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D55B11-6C50-8A86-2B8C-26847A5FF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21224" y="6356350"/>
            <a:ext cx="6432176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255612-95C8-7D48-6058-D92907752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A675ADAC-811D-B763-90FF-60599647915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6122989" cy="6858001"/>
          </a:xfrm>
          <a:custGeom>
            <a:avLst/>
            <a:gdLst>
              <a:gd name="connsiteX0" fmla="*/ 0 w 6122989"/>
              <a:gd name="connsiteY0" fmla="*/ 0 h 6858001"/>
              <a:gd name="connsiteX1" fmla="*/ 6122989 w 6122989"/>
              <a:gd name="connsiteY1" fmla="*/ 0 h 6858001"/>
              <a:gd name="connsiteX2" fmla="*/ 6122989 w 6122989"/>
              <a:gd name="connsiteY2" fmla="*/ 1 h 6858001"/>
              <a:gd name="connsiteX3" fmla="*/ 6079151 w 6122989"/>
              <a:gd name="connsiteY3" fmla="*/ 1 h 6858001"/>
              <a:gd name="connsiteX4" fmla="*/ 2697731 w 6122989"/>
              <a:gd name="connsiteY4" fmla="*/ 3391207 h 6858001"/>
              <a:gd name="connsiteX5" fmla="*/ 6122989 w 6122989"/>
              <a:gd name="connsiteY5" fmla="*/ 6826378 h 6858001"/>
              <a:gd name="connsiteX6" fmla="*/ 6122989 w 6122989"/>
              <a:gd name="connsiteY6" fmla="*/ 6858001 h 6858001"/>
              <a:gd name="connsiteX7" fmla="*/ 0 w 6122989"/>
              <a:gd name="connsiteY7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122989" h="6858001">
                <a:moveTo>
                  <a:pt x="0" y="0"/>
                </a:moveTo>
                <a:lnTo>
                  <a:pt x="6122989" y="0"/>
                </a:lnTo>
                <a:lnTo>
                  <a:pt x="6122989" y="1"/>
                </a:lnTo>
                <a:lnTo>
                  <a:pt x="6079151" y="1"/>
                </a:lnTo>
                <a:lnTo>
                  <a:pt x="2697731" y="3391207"/>
                </a:lnTo>
                <a:lnTo>
                  <a:pt x="6122989" y="6826378"/>
                </a:lnTo>
                <a:lnTo>
                  <a:pt x="6122989" y="6858001"/>
                </a:lnTo>
                <a:lnTo>
                  <a:pt x="0" y="6858001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vert="horz" wrap="square" lIns="0" tIns="0" rIns="0" bIns="0" rtlCol="0" anchor="ctr">
            <a:noAutofit/>
          </a:bodyPr>
          <a:lstStyle>
            <a:lvl1pPr>
              <a:defRPr lang="en-US"/>
            </a:lvl1pPr>
          </a:lstStyle>
          <a:p>
            <a:pPr marL="714375" lvl="0" indent="0">
              <a:buNone/>
            </a:pPr>
            <a:r>
              <a:rPr lang="en-GB"/>
              <a:t>Click icon to add picture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B28BF40-75EE-9E10-5E88-523E03E0B5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9C4CF29-6972-0DB2-0409-3A1FC0B81C52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333640" y="1542197"/>
            <a:ext cx="5342421" cy="46236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ijdelijke aanduiding voor tekst 5">
            <a:extLst>
              <a:ext uri="{FF2B5EF4-FFF2-40B4-BE49-F238E27FC236}">
                <a16:creationId xmlns:a16="http://schemas.microsoft.com/office/drawing/2014/main" id="{5F42EE6B-7DC1-9C90-30E9-10B5F96276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47133" y="530478"/>
            <a:ext cx="3740352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8214A7F-4F3B-52AA-2BDF-534DBA179E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3640" y="944975"/>
            <a:ext cx="5328928" cy="597222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455771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L + Text R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D55B11-6C50-8A86-2B8C-26847A5FF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255612-95C8-7D48-6058-D92907752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20AC8-9871-4AEB-A36A-D6BEF7DDDDB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D017E2D-BEC5-E1CC-AFF4-48CA710E25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5"/>
            <a:ext cx="5328928" cy="597222"/>
          </a:xfrm>
        </p:spPr>
        <p:txBody>
          <a:bodyPr/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7BBB2C4-EB27-2A09-845E-31DFAFA754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8" y="1542197"/>
            <a:ext cx="5342421" cy="462365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ijdelijke aanduiding voor tekst 5">
            <a:extLst>
              <a:ext uri="{FF2B5EF4-FFF2-40B4-BE49-F238E27FC236}">
                <a16:creationId xmlns:a16="http://schemas.microsoft.com/office/drawing/2014/main" id="{FA1F1614-5ECE-B4BD-998A-15B3DDE3D8D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3740352" cy="385762"/>
          </a:xfrm>
        </p:spPr>
        <p:txBody>
          <a:bodyPr/>
          <a:lstStyle>
            <a:lvl1pPr marL="0" indent="0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sp>
        <p:nvSpPr>
          <p:cNvPr id="2" name="Picture Placeholder 13">
            <a:extLst>
              <a:ext uri="{FF2B5EF4-FFF2-40B4-BE49-F238E27FC236}">
                <a16:creationId xmlns:a16="http://schemas.microsoft.com/office/drawing/2014/main" id="{F0E702E8-BC81-E40E-7D96-166E122767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316467" y="0"/>
            <a:ext cx="6875533" cy="6867525"/>
          </a:xfrm>
          <a:custGeom>
            <a:avLst/>
            <a:gdLst>
              <a:gd name="connsiteX0" fmla="*/ 6434433 w 6899170"/>
              <a:gd name="connsiteY0" fmla="*/ 0 h 6858000"/>
              <a:gd name="connsiteX1" fmla="*/ 6899170 w 6899170"/>
              <a:gd name="connsiteY1" fmla="*/ 0 h 6858000"/>
              <a:gd name="connsiteX2" fmla="*/ 6899170 w 6899170"/>
              <a:gd name="connsiteY2" fmla="*/ 6858000 h 6858000"/>
              <a:gd name="connsiteX3" fmla="*/ 0 w 6899170"/>
              <a:gd name="connsiteY3" fmla="*/ 6858000 h 6858000"/>
              <a:gd name="connsiteX4" fmla="*/ 6812 w 6899170"/>
              <a:gd name="connsiteY4" fmla="*/ 6570687 h 6858000"/>
              <a:gd name="connsiteX5" fmla="*/ 6214863 w 6899170"/>
              <a:gd name="connsiteY5" fmla="*/ 1669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99170" h="6858000">
                <a:moveTo>
                  <a:pt x="6434433" y="0"/>
                </a:moveTo>
                <a:lnTo>
                  <a:pt x="6899170" y="0"/>
                </a:lnTo>
                <a:lnTo>
                  <a:pt x="6899170" y="6858000"/>
                </a:lnTo>
                <a:lnTo>
                  <a:pt x="0" y="6858000"/>
                </a:lnTo>
                <a:lnTo>
                  <a:pt x="6812" y="6570687"/>
                </a:lnTo>
                <a:cubicBezTo>
                  <a:pt x="169923" y="3138129"/>
                  <a:pt x="2832551" y="360190"/>
                  <a:pt x="6214863" y="1669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2CEFF9A-ABFE-14BC-9E1D-AB68AA14E19E}"/>
              </a:ext>
            </a:extLst>
          </p:cNvPr>
          <p:cNvGrpSpPr/>
          <p:nvPr userDrawn="1"/>
        </p:nvGrpSpPr>
        <p:grpSpPr>
          <a:xfrm>
            <a:off x="-970564" y="-4982"/>
            <a:ext cx="556609" cy="6866623"/>
            <a:chOff x="-970564" y="-4982"/>
            <a:chExt cx="556609" cy="6866623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D4D89316-36F4-5361-9EFB-95F66060212C}"/>
                </a:ext>
              </a:extLst>
            </p:cNvPr>
            <p:cNvSpPr/>
            <p:nvPr/>
          </p:nvSpPr>
          <p:spPr>
            <a:xfrm>
              <a:off x="-970564" y="696131"/>
              <a:ext cx="556609" cy="556609"/>
            </a:xfrm>
            <a:prstGeom prst="ellipse">
              <a:avLst/>
            </a:prstGeom>
            <a:solidFill>
              <a:srgbClr val="F96D06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F96D06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5B0E9D63-3A28-2E89-9EB3-D19CE036763B}"/>
                </a:ext>
              </a:extLst>
            </p:cNvPr>
            <p:cNvSpPr/>
            <p:nvPr/>
          </p:nvSpPr>
          <p:spPr>
            <a:xfrm>
              <a:off x="-970564" y="2799470"/>
              <a:ext cx="556609" cy="556609"/>
            </a:xfrm>
            <a:prstGeom prst="ellipse">
              <a:avLst/>
            </a:prstGeom>
            <a:solidFill>
              <a:srgbClr val="133AF5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133AF5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74A5CE1-F78D-0DE2-7BFD-8BC1471FB64F}"/>
                </a:ext>
              </a:extLst>
            </p:cNvPr>
            <p:cNvSpPr/>
            <p:nvPr/>
          </p:nvSpPr>
          <p:spPr>
            <a:xfrm>
              <a:off x="-970564" y="5603922"/>
              <a:ext cx="556609" cy="556609"/>
            </a:xfrm>
            <a:prstGeom prst="ellipse">
              <a:avLst/>
            </a:prstGeom>
            <a:solidFill>
              <a:srgbClr val="A3A3A3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A3A3A3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8B174A20-C13B-E7E6-CB9E-745EF672615B}"/>
                </a:ext>
              </a:extLst>
            </p:cNvPr>
            <p:cNvSpPr/>
            <p:nvPr/>
          </p:nvSpPr>
          <p:spPr>
            <a:xfrm>
              <a:off x="-970564" y="3500583"/>
              <a:ext cx="556609" cy="556609"/>
            </a:xfrm>
            <a:prstGeom prst="ellipse">
              <a:avLst/>
            </a:prstGeom>
            <a:solidFill>
              <a:srgbClr val="57A2FF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57A2FF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A8468712-6522-E764-9806-7633CF31346D}"/>
                </a:ext>
              </a:extLst>
            </p:cNvPr>
            <p:cNvSpPr/>
            <p:nvPr/>
          </p:nvSpPr>
          <p:spPr>
            <a:xfrm>
              <a:off x="-970564" y="6305032"/>
              <a:ext cx="556609" cy="556609"/>
            </a:xfrm>
            <a:prstGeom prst="ellipse">
              <a:avLst/>
            </a:prstGeom>
            <a:solidFill>
              <a:srgbClr val="E7E5E4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tx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E7E5E4</a:t>
              </a:r>
              <a:endParaRPr lang="en-US" sz="700" b="0" i="0">
                <a:solidFill>
                  <a:schemeClr val="tx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04DAE29B-9976-CE55-5BDC-E631DA910B7C}"/>
                </a:ext>
              </a:extLst>
            </p:cNvPr>
            <p:cNvSpPr/>
            <p:nvPr/>
          </p:nvSpPr>
          <p:spPr>
            <a:xfrm>
              <a:off x="-970564" y="4902809"/>
              <a:ext cx="556609" cy="556609"/>
            </a:xfrm>
            <a:prstGeom prst="ellipse">
              <a:avLst/>
            </a:prstGeom>
            <a:solidFill>
              <a:srgbClr val="57534E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57534E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DD769AFD-F67F-4555-9AA7-56EFE144E34A}"/>
                </a:ext>
              </a:extLst>
            </p:cNvPr>
            <p:cNvSpPr/>
            <p:nvPr/>
          </p:nvSpPr>
          <p:spPr>
            <a:xfrm>
              <a:off x="-970564" y="4201696"/>
              <a:ext cx="556609" cy="556609"/>
            </a:xfrm>
            <a:prstGeom prst="ellipse">
              <a:avLst/>
            </a:prstGeom>
            <a:solidFill>
              <a:srgbClr val="1C1917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1C1917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81BF18EB-7576-025D-062E-05E79735C816}"/>
                </a:ext>
              </a:extLst>
            </p:cNvPr>
            <p:cNvSpPr/>
            <p:nvPr/>
          </p:nvSpPr>
          <p:spPr>
            <a:xfrm>
              <a:off x="-970564" y="2098357"/>
              <a:ext cx="556609" cy="556609"/>
            </a:xfrm>
            <a:prstGeom prst="ellipse">
              <a:avLst/>
            </a:prstGeom>
            <a:solidFill>
              <a:srgbClr val="071F65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071F65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794CC00D-B113-53F5-BA64-0CFB790A40F3}"/>
                </a:ext>
              </a:extLst>
            </p:cNvPr>
            <p:cNvSpPr/>
            <p:nvPr/>
          </p:nvSpPr>
          <p:spPr>
            <a:xfrm>
              <a:off x="-970564" y="1397244"/>
              <a:ext cx="556609" cy="556609"/>
            </a:xfrm>
            <a:prstGeom prst="ellipse">
              <a:avLst/>
            </a:prstGeom>
            <a:solidFill>
              <a:srgbClr val="801626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801626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B0A23ADC-F9AE-7AF9-45E4-E029E51D8691}"/>
                </a:ext>
              </a:extLst>
            </p:cNvPr>
            <p:cNvSpPr/>
            <p:nvPr/>
          </p:nvSpPr>
          <p:spPr>
            <a:xfrm>
              <a:off x="-970564" y="-4982"/>
              <a:ext cx="556609" cy="556609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E6341F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545303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L + Text R - Red">
    <p:bg>
      <p:bgPr>
        <a:gradFill>
          <a:gsLst>
            <a:gs pos="0">
              <a:srgbClr val="7B112A"/>
            </a:gs>
            <a:gs pos="44000">
              <a:srgbClr val="B4292B"/>
            </a:gs>
            <a:gs pos="72000">
              <a:srgbClr val="EE422C"/>
            </a:gs>
          </a:gsLst>
          <a:lin ang="9021284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3">
            <a:extLst>
              <a:ext uri="{FF2B5EF4-FFF2-40B4-BE49-F238E27FC236}">
                <a16:creationId xmlns:a16="http://schemas.microsoft.com/office/drawing/2014/main" id="{998897FA-D874-71DE-8170-CDCEDF860AC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316467" y="0"/>
            <a:ext cx="6875533" cy="6867525"/>
          </a:xfrm>
          <a:custGeom>
            <a:avLst/>
            <a:gdLst>
              <a:gd name="connsiteX0" fmla="*/ 6434433 w 6899170"/>
              <a:gd name="connsiteY0" fmla="*/ 0 h 6858000"/>
              <a:gd name="connsiteX1" fmla="*/ 6899170 w 6899170"/>
              <a:gd name="connsiteY1" fmla="*/ 0 h 6858000"/>
              <a:gd name="connsiteX2" fmla="*/ 6899170 w 6899170"/>
              <a:gd name="connsiteY2" fmla="*/ 6858000 h 6858000"/>
              <a:gd name="connsiteX3" fmla="*/ 0 w 6899170"/>
              <a:gd name="connsiteY3" fmla="*/ 6858000 h 6858000"/>
              <a:gd name="connsiteX4" fmla="*/ 6812 w 6899170"/>
              <a:gd name="connsiteY4" fmla="*/ 6570687 h 6858000"/>
              <a:gd name="connsiteX5" fmla="*/ 6214863 w 6899170"/>
              <a:gd name="connsiteY5" fmla="*/ 1669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99170" h="6858000">
                <a:moveTo>
                  <a:pt x="6434433" y="0"/>
                </a:moveTo>
                <a:lnTo>
                  <a:pt x="6899170" y="0"/>
                </a:lnTo>
                <a:lnTo>
                  <a:pt x="6899170" y="6858000"/>
                </a:lnTo>
                <a:lnTo>
                  <a:pt x="0" y="6858000"/>
                </a:lnTo>
                <a:lnTo>
                  <a:pt x="6812" y="6570687"/>
                </a:lnTo>
                <a:cubicBezTo>
                  <a:pt x="169923" y="3138129"/>
                  <a:pt x="2832551" y="360190"/>
                  <a:pt x="6214863" y="16697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255612-95C8-7D48-6058-D92907752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A7823AC-57C6-BB97-AFE4-22891341F1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5"/>
            <a:ext cx="5328928" cy="597222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EFD2007-81BE-9038-8BAD-031D5E722E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8" y="1542197"/>
            <a:ext cx="5342421" cy="46236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Tijdelijke aanduiding voor tekst 5">
            <a:extLst>
              <a:ext uri="{FF2B5EF4-FFF2-40B4-BE49-F238E27FC236}">
                <a16:creationId xmlns:a16="http://schemas.microsoft.com/office/drawing/2014/main" id="{E482BB08-D713-1B88-6FAC-5D66D29EAD3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9431" y="530478"/>
            <a:ext cx="3740352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B4A42FC-2141-9347-DC37-8447233B7A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DB4E263-3B86-A1D1-8909-1E51BDD917CF}"/>
              </a:ext>
            </a:extLst>
          </p:cNvPr>
          <p:cNvGrpSpPr/>
          <p:nvPr userDrawn="1"/>
        </p:nvGrpSpPr>
        <p:grpSpPr>
          <a:xfrm>
            <a:off x="-970564" y="-4982"/>
            <a:ext cx="556609" cy="6866623"/>
            <a:chOff x="-970564" y="-4982"/>
            <a:chExt cx="556609" cy="6866623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901E55A3-4804-8DBF-C0A2-1F1A20FD46CC}"/>
                </a:ext>
              </a:extLst>
            </p:cNvPr>
            <p:cNvSpPr/>
            <p:nvPr/>
          </p:nvSpPr>
          <p:spPr>
            <a:xfrm>
              <a:off x="-970564" y="696131"/>
              <a:ext cx="556609" cy="556609"/>
            </a:xfrm>
            <a:prstGeom prst="ellipse">
              <a:avLst/>
            </a:prstGeom>
            <a:solidFill>
              <a:srgbClr val="F96D06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F96D06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DC6092D2-2600-21B0-66AA-6E84C50AF2A0}"/>
                </a:ext>
              </a:extLst>
            </p:cNvPr>
            <p:cNvSpPr/>
            <p:nvPr/>
          </p:nvSpPr>
          <p:spPr>
            <a:xfrm>
              <a:off x="-970564" y="2799470"/>
              <a:ext cx="556609" cy="556609"/>
            </a:xfrm>
            <a:prstGeom prst="ellipse">
              <a:avLst/>
            </a:prstGeom>
            <a:solidFill>
              <a:srgbClr val="133AF5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133AF5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D6D11303-BD24-2CB4-4151-487F81DA16CE}"/>
                </a:ext>
              </a:extLst>
            </p:cNvPr>
            <p:cNvSpPr/>
            <p:nvPr/>
          </p:nvSpPr>
          <p:spPr>
            <a:xfrm>
              <a:off x="-970564" y="5603922"/>
              <a:ext cx="556609" cy="556609"/>
            </a:xfrm>
            <a:prstGeom prst="ellipse">
              <a:avLst/>
            </a:prstGeom>
            <a:solidFill>
              <a:srgbClr val="A3A3A3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A3A3A3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0F6539D3-77FC-51ED-D3DE-46861ACD7D0A}"/>
                </a:ext>
              </a:extLst>
            </p:cNvPr>
            <p:cNvSpPr/>
            <p:nvPr/>
          </p:nvSpPr>
          <p:spPr>
            <a:xfrm>
              <a:off x="-970564" y="3500583"/>
              <a:ext cx="556609" cy="556609"/>
            </a:xfrm>
            <a:prstGeom prst="ellipse">
              <a:avLst/>
            </a:prstGeom>
            <a:solidFill>
              <a:srgbClr val="57A2FF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57A2FF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0A19D4B-AC71-DB5A-7AB2-1D6728BB94F2}"/>
                </a:ext>
              </a:extLst>
            </p:cNvPr>
            <p:cNvSpPr/>
            <p:nvPr/>
          </p:nvSpPr>
          <p:spPr>
            <a:xfrm>
              <a:off x="-970564" y="6305032"/>
              <a:ext cx="556609" cy="556609"/>
            </a:xfrm>
            <a:prstGeom prst="ellipse">
              <a:avLst/>
            </a:prstGeom>
            <a:solidFill>
              <a:srgbClr val="E7E5E4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tx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E7E5E4</a:t>
              </a:r>
              <a:endParaRPr lang="en-US" sz="700" b="0" i="0">
                <a:solidFill>
                  <a:schemeClr val="tx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7CCD3262-2F1A-7BE5-DEE2-16494DE2EB83}"/>
                </a:ext>
              </a:extLst>
            </p:cNvPr>
            <p:cNvSpPr/>
            <p:nvPr/>
          </p:nvSpPr>
          <p:spPr>
            <a:xfrm>
              <a:off x="-970564" y="4902809"/>
              <a:ext cx="556609" cy="556609"/>
            </a:xfrm>
            <a:prstGeom prst="ellipse">
              <a:avLst/>
            </a:prstGeom>
            <a:solidFill>
              <a:srgbClr val="57534E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57534E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B2A04F20-03A3-763B-0348-C19085064404}"/>
                </a:ext>
              </a:extLst>
            </p:cNvPr>
            <p:cNvSpPr/>
            <p:nvPr/>
          </p:nvSpPr>
          <p:spPr>
            <a:xfrm>
              <a:off x="-970564" y="4201696"/>
              <a:ext cx="556609" cy="556609"/>
            </a:xfrm>
            <a:prstGeom prst="ellipse">
              <a:avLst/>
            </a:prstGeom>
            <a:solidFill>
              <a:srgbClr val="1C1917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1C1917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5C7ECA1A-B211-0D05-4BB4-B7D5C84E6E42}"/>
                </a:ext>
              </a:extLst>
            </p:cNvPr>
            <p:cNvSpPr/>
            <p:nvPr/>
          </p:nvSpPr>
          <p:spPr>
            <a:xfrm>
              <a:off x="-970564" y="2098357"/>
              <a:ext cx="556609" cy="556609"/>
            </a:xfrm>
            <a:prstGeom prst="ellipse">
              <a:avLst/>
            </a:prstGeom>
            <a:solidFill>
              <a:srgbClr val="071F65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071F65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524DBB9C-C1AE-E3B9-0F9A-2A2CC8BF3908}"/>
                </a:ext>
              </a:extLst>
            </p:cNvPr>
            <p:cNvSpPr/>
            <p:nvPr/>
          </p:nvSpPr>
          <p:spPr>
            <a:xfrm>
              <a:off x="-970564" y="1397244"/>
              <a:ext cx="556609" cy="556609"/>
            </a:xfrm>
            <a:prstGeom prst="ellipse">
              <a:avLst/>
            </a:prstGeom>
            <a:solidFill>
              <a:srgbClr val="801626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801626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582E1B76-EA8E-5C2A-1264-6B4401461D42}"/>
                </a:ext>
              </a:extLst>
            </p:cNvPr>
            <p:cNvSpPr/>
            <p:nvPr/>
          </p:nvSpPr>
          <p:spPr>
            <a:xfrm>
              <a:off x="-970564" y="-4982"/>
              <a:ext cx="556609" cy="556609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E6341F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043221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tail variant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AEFEC4E-6E5C-DA0E-48F1-A061BC5906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4"/>
            <a:ext cx="8446294" cy="1115601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C8D3C084-33AB-C87E-A9BB-0481358A5A8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9430" y="2338202"/>
            <a:ext cx="8446295" cy="40005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l">
              <a:buNone/>
              <a:defRPr>
                <a:solidFill>
                  <a:schemeClr val="bg1"/>
                </a:solidFill>
              </a:defRPr>
            </a:lvl2pPr>
            <a:lvl3pPr marL="914400" indent="0" algn="l">
              <a:buNone/>
              <a:defRPr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bg1"/>
                </a:solidFill>
              </a:defRPr>
            </a:lvl4pPr>
            <a:lvl5pPr marL="1828800" indent="0" algn="l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EF7A490-DF74-7299-6570-6116D893A0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C1B1305-3F21-26D0-8F46-F445A738DD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05596DB0-7C8C-AD5D-A3D1-B27952422D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286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9C4FCB2-44DA-60B8-7BFF-EC63868BD34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  <p:cxnSp>
        <p:nvCxnSpPr>
          <p:cNvPr id="10" name="Rechte verbindingslijn 9">
            <a:extLst>
              <a:ext uri="{FF2B5EF4-FFF2-40B4-BE49-F238E27FC236}">
                <a16:creationId xmlns:a16="http://schemas.microsoft.com/office/drawing/2014/main" id="{F333AB4B-DF35-2D8A-A8F7-D38606DEEDD9}"/>
              </a:ext>
            </a:extLst>
          </p:cNvPr>
          <p:cNvCxnSpPr/>
          <p:nvPr userDrawn="1"/>
        </p:nvCxnSpPr>
        <p:spPr>
          <a:xfrm flipV="1">
            <a:off x="10833100" y="0"/>
            <a:ext cx="0" cy="596900"/>
          </a:xfrm>
          <a:prstGeom prst="line">
            <a:avLst/>
          </a:prstGeom>
          <a:ln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59283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lthcare variant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AEFEC4E-6E5C-DA0E-48F1-A061BC5906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4"/>
            <a:ext cx="8446294" cy="1115601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C8D3C084-33AB-C87E-A9BB-0481358A5A8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9430" y="2338202"/>
            <a:ext cx="8446295" cy="40005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l">
              <a:buNone/>
              <a:defRPr>
                <a:solidFill>
                  <a:schemeClr val="bg1"/>
                </a:solidFill>
              </a:defRPr>
            </a:lvl2pPr>
            <a:lvl3pPr marL="914400" indent="0" algn="l">
              <a:buNone/>
              <a:defRPr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bg1"/>
                </a:solidFill>
              </a:defRPr>
            </a:lvl4pPr>
            <a:lvl5pPr marL="1828800" indent="0" algn="l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EF7A490-DF74-7299-6570-6116D893A0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C1B1305-3F21-26D0-8F46-F445A738DD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05596DB0-7C8C-AD5D-A3D1-B27952422D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286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4CB5586-46C4-C7EF-92EB-7C8AE7F1655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94962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ncial Services variant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AEFEC4E-6E5C-DA0E-48F1-A061BC5906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4"/>
            <a:ext cx="8446294" cy="1115601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C8D3C084-33AB-C87E-A9BB-0481358A5A8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9430" y="2338202"/>
            <a:ext cx="8446295" cy="40005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l">
              <a:buNone/>
              <a:defRPr>
                <a:solidFill>
                  <a:schemeClr val="bg1"/>
                </a:solidFill>
              </a:defRPr>
            </a:lvl2pPr>
            <a:lvl3pPr marL="914400" indent="0" algn="l">
              <a:buNone/>
              <a:defRPr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bg1"/>
                </a:solidFill>
              </a:defRPr>
            </a:lvl4pPr>
            <a:lvl5pPr marL="1828800" indent="0" algn="l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EF7A490-DF74-7299-6570-6116D893A0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C1B1305-3F21-26D0-8F46-F445A738DD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05596DB0-7C8C-AD5D-A3D1-B27952422D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286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322EC22-6A64-0535-2EB7-1CAA5515286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0555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Healthca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ruis 1">
            <a:extLst>
              <a:ext uri="{FF2B5EF4-FFF2-40B4-BE49-F238E27FC236}">
                <a16:creationId xmlns:a16="http://schemas.microsoft.com/office/drawing/2014/main" id="{107B5B89-AE50-5F8B-D0B8-8C5F3A57DFA3}"/>
              </a:ext>
            </a:extLst>
          </p:cNvPr>
          <p:cNvSpPr/>
          <p:nvPr userDrawn="1"/>
        </p:nvSpPr>
        <p:spPr>
          <a:xfrm>
            <a:off x="0" y="0"/>
            <a:ext cx="6858000" cy="6858000"/>
          </a:xfrm>
          <a:prstGeom prst="plus">
            <a:avLst/>
          </a:prstGeom>
          <a:gradFill>
            <a:gsLst>
              <a:gs pos="0">
                <a:schemeClr val="accent3"/>
              </a:gs>
              <a:gs pos="73000">
                <a:schemeClr val="accent2"/>
              </a:gs>
            </a:gsLst>
            <a:lin ang="9021281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DF11862-76B8-3837-158E-7C4E37DAE92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839712" y="1"/>
            <a:ext cx="5352288" cy="6855459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824FBDE-BEB3-0F3F-10D5-5B9009B83E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9" y="2076653"/>
            <a:ext cx="5580062" cy="1352347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025B4C57-E50D-F33F-0230-3992467CCD1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8893" y="3964506"/>
            <a:ext cx="5567108" cy="323165"/>
          </a:xfrm>
          <a:noFill/>
        </p:spPr>
        <p:txBody>
          <a:bodyPr wrap="square" lIns="0" tIns="0" rIns="0" bIns="0" rtlCol="0" anchor="b">
            <a:noAutofit/>
          </a:bodyPr>
          <a:lstStyle>
            <a:lvl1pPr marL="0" indent="0">
              <a:spcBef>
                <a:spcPts val="0"/>
              </a:spcBef>
              <a:buNone/>
              <a:defRPr lang="en-US" sz="1600" smtClean="0">
                <a:solidFill>
                  <a:schemeClr val="bg1"/>
                </a:solidFill>
                <a:latin typeface="+mn-lt"/>
              </a:defRPr>
            </a:lvl1pPr>
            <a:lvl2pPr>
              <a:defRPr lang="en-US" smtClean="0"/>
            </a:lvl2pPr>
            <a:lvl3pPr>
              <a:defRPr lang="en-US" sz="1800" smtClean="0"/>
            </a:lvl3pPr>
            <a:lvl4pPr>
              <a:defRPr lang="en-US" sz="1800" smtClean="0"/>
            </a:lvl4pPr>
            <a:lvl5pPr>
              <a:defRPr lang="en-US" sz="1800"/>
            </a:lvl5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9A007B63-D03C-138F-32A4-DE7B276221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3465472"/>
            <a:ext cx="5567108" cy="507216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 algn="l">
              <a:buNone/>
              <a:defRPr>
                <a:solidFill>
                  <a:schemeClr val="bg1"/>
                </a:solidFill>
              </a:defRPr>
            </a:lvl2pPr>
            <a:lvl3pPr marL="914400" indent="0" algn="l">
              <a:buNone/>
              <a:defRPr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bg1"/>
                </a:solidFill>
              </a:defRPr>
            </a:lvl4pPr>
            <a:lvl5pPr marL="1828800" indent="0" algn="l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ijdelijke aanduiding voor tekst 5">
            <a:extLst>
              <a:ext uri="{FF2B5EF4-FFF2-40B4-BE49-F238E27FC236}">
                <a16:creationId xmlns:a16="http://schemas.microsoft.com/office/drawing/2014/main" id="{48A61C6C-5AE6-6CD7-5FF2-5B9D71433A3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2926" y="1376363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A7B72952-7F0F-A58B-3560-D464A4A396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938" y="0"/>
            <a:ext cx="1591688" cy="80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0354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4CDE74ED-C4F3-7EDB-C63A-B7E103F03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4"/>
            <a:ext cx="8446294" cy="1115601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DC58A54C-2F39-9AAF-8BCD-15398B6CD2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9430" y="2338202"/>
            <a:ext cx="8446295" cy="40005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l">
              <a:buNone/>
              <a:defRPr>
                <a:solidFill>
                  <a:schemeClr val="bg1"/>
                </a:solidFill>
              </a:defRPr>
            </a:lvl2pPr>
            <a:lvl3pPr marL="914400" indent="0" algn="l">
              <a:buNone/>
              <a:defRPr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bg1"/>
                </a:solidFill>
              </a:defRPr>
            </a:lvl4pPr>
            <a:lvl5pPr marL="1828800" indent="0" algn="l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ijdelijke aanduiding voor tekst 5">
            <a:extLst>
              <a:ext uri="{FF2B5EF4-FFF2-40B4-BE49-F238E27FC236}">
                <a16:creationId xmlns:a16="http://schemas.microsoft.com/office/drawing/2014/main" id="{BDDDF111-4542-296A-65C2-02BC7D5D14D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F6E3174-4A47-2B10-6CC7-4A034CD0AC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FDF3A7A8-B930-BEF3-C3A0-D89124A837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286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F69CFEE-3BD0-2FD8-7175-DD9FCC3C3B5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5054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4CDE74ED-C4F3-7EDB-C63A-B7E103F03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4"/>
            <a:ext cx="8446294" cy="1115601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DC58A54C-2F39-9AAF-8BCD-15398B6CD2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9430" y="2338202"/>
            <a:ext cx="8446295" cy="40005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l">
              <a:buNone/>
              <a:defRPr>
                <a:solidFill>
                  <a:schemeClr val="bg1"/>
                </a:solidFill>
              </a:defRPr>
            </a:lvl2pPr>
            <a:lvl3pPr marL="914400" indent="0" algn="l">
              <a:buNone/>
              <a:defRPr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bg1"/>
                </a:solidFill>
              </a:defRPr>
            </a:lvl4pPr>
            <a:lvl5pPr marL="1828800" indent="0" algn="l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ijdelijke aanduiding voor tekst 5">
            <a:extLst>
              <a:ext uri="{FF2B5EF4-FFF2-40B4-BE49-F238E27FC236}">
                <a16:creationId xmlns:a16="http://schemas.microsoft.com/office/drawing/2014/main" id="{BDDDF111-4542-296A-65C2-02BC7D5D14D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F6E3174-4A47-2B10-6CC7-4A034CD0AC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FDF3A7A8-B930-BEF3-C3A0-D89124A837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286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4EBA3E0-ED56-710A-66DF-5993EBA628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8120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4CDE74ED-C4F3-7EDB-C63A-B7E103F03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4"/>
            <a:ext cx="8446294" cy="1115601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DC58A54C-2F39-9AAF-8BCD-15398B6CD2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9430" y="2338202"/>
            <a:ext cx="8446295" cy="40005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l">
              <a:buNone/>
              <a:defRPr>
                <a:solidFill>
                  <a:schemeClr val="bg1"/>
                </a:solidFill>
              </a:defRPr>
            </a:lvl2pPr>
            <a:lvl3pPr marL="914400" indent="0" algn="l">
              <a:buNone/>
              <a:defRPr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bg1"/>
                </a:solidFill>
              </a:defRPr>
            </a:lvl4pPr>
            <a:lvl5pPr marL="1828800" indent="0" algn="l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ijdelijke aanduiding voor tekst 5">
            <a:extLst>
              <a:ext uri="{FF2B5EF4-FFF2-40B4-BE49-F238E27FC236}">
                <a16:creationId xmlns:a16="http://schemas.microsoft.com/office/drawing/2014/main" id="{BDDDF111-4542-296A-65C2-02BC7D5D14D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F6E3174-4A47-2B10-6CC7-4A034CD0AC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FDF3A7A8-B930-BEF3-C3A0-D89124A837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286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539D73C-282E-E11B-15D0-85264661DF2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39087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L + Text R -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D55B11-6C50-8A86-2B8C-26847A5FF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255612-95C8-7D48-6058-D92907752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20AC8-9871-4AEB-A36A-D6BEF7DDDDB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D017E2D-BEC5-E1CC-AFF4-48CA710E25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5"/>
            <a:ext cx="5328928" cy="597222"/>
          </a:xfrm>
        </p:spPr>
        <p:txBody>
          <a:bodyPr/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7BBB2C4-EB27-2A09-845E-31DFAFA754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8" y="1542197"/>
            <a:ext cx="5342421" cy="462365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ijdelijke aanduiding voor tekst 5">
            <a:extLst>
              <a:ext uri="{FF2B5EF4-FFF2-40B4-BE49-F238E27FC236}">
                <a16:creationId xmlns:a16="http://schemas.microsoft.com/office/drawing/2014/main" id="{FA1F1614-5ECE-B4BD-998A-15B3DDE3D8D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3740352" cy="385762"/>
          </a:xfrm>
        </p:spPr>
        <p:txBody>
          <a:bodyPr/>
          <a:lstStyle>
            <a:lvl1pPr marL="0" indent="0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2CEFF9A-ABFE-14BC-9E1D-AB68AA14E19E}"/>
              </a:ext>
            </a:extLst>
          </p:cNvPr>
          <p:cNvGrpSpPr/>
          <p:nvPr userDrawn="1"/>
        </p:nvGrpSpPr>
        <p:grpSpPr>
          <a:xfrm>
            <a:off x="-970564" y="-4982"/>
            <a:ext cx="556609" cy="6866623"/>
            <a:chOff x="-970564" y="-4982"/>
            <a:chExt cx="556609" cy="6866623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D4D89316-36F4-5361-9EFB-95F66060212C}"/>
                </a:ext>
              </a:extLst>
            </p:cNvPr>
            <p:cNvSpPr/>
            <p:nvPr/>
          </p:nvSpPr>
          <p:spPr>
            <a:xfrm>
              <a:off x="-970564" y="696131"/>
              <a:ext cx="556609" cy="556609"/>
            </a:xfrm>
            <a:prstGeom prst="ellipse">
              <a:avLst/>
            </a:prstGeom>
            <a:solidFill>
              <a:srgbClr val="F96D06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F96D06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5B0E9D63-3A28-2E89-9EB3-D19CE036763B}"/>
                </a:ext>
              </a:extLst>
            </p:cNvPr>
            <p:cNvSpPr/>
            <p:nvPr/>
          </p:nvSpPr>
          <p:spPr>
            <a:xfrm>
              <a:off x="-970564" y="2799470"/>
              <a:ext cx="556609" cy="556609"/>
            </a:xfrm>
            <a:prstGeom prst="ellipse">
              <a:avLst/>
            </a:prstGeom>
            <a:solidFill>
              <a:srgbClr val="133AF5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133AF5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74A5CE1-F78D-0DE2-7BFD-8BC1471FB64F}"/>
                </a:ext>
              </a:extLst>
            </p:cNvPr>
            <p:cNvSpPr/>
            <p:nvPr/>
          </p:nvSpPr>
          <p:spPr>
            <a:xfrm>
              <a:off x="-970564" y="5603922"/>
              <a:ext cx="556609" cy="556609"/>
            </a:xfrm>
            <a:prstGeom prst="ellipse">
              <a:avLst/>
            </a:prstGeom>
            <a:solidFill>
              <a:srgbClr val="A3A3A3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A3A3A3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8B174A20-C13B-E7E6-CB9E-745EF672615B}"/>
                </a:ext>
              </a:extLst>
            </p:cNvPr>
            <p:cNvSpPr/>
            <p:nvPr/>
          </p:nvSpPr>
          <p:spPr>
            <a:xfrm>
              <a:off x="-970564" y="3500583"/>
              <a:ext cx="556609" cy="556609"/>
            </a:xfrm>
            <a:prstGeom prst="ellipse">
              <a:avLst/>
            </a:prstGeom>
            <a:solidFill>
              <a:srgbClr val="57A2FF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57A2FF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A8468712-6522-E764-9806-7633CF31346D}"/>
                </a:ext>
              </a:extLst>
            </p:cNvPr>
            <p:cNvSpPr/>
            <p:nvPr/>
          </p:nvSpPr>
          <p:spPr>
            <a:xfrm>
              <a:off x="-970564" y="6305032"/>
              <a:ext cx="556609" cy="556609"/>
            </a:xfrm>
            <a:prstGeom prst="ellipse">
              <a:avLst/>
            </a:prstGeom>
            <a:solidFill>
              <a:srgbClr val="E7E5E4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tx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E7E5E4</a:t>
              </a:r>
              <a:endParaRPr lang="en-US" sz="700" b="0" i="0">
                <a:solidFill>
                  <a:schemeClr val="tx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04DAE29B-9976-CE55-5BDC-E631DA910B7C}"/>
                </a:ext>
              </a:extLst>
            </p:cNvPr>
            <p:cNvSpPr/>
            <p:nvPr/>
          </p:nvSpPr>
          <p:spPr>
            <a:xfrm>
              <a:off x="-970564" y="4902809"/>
              <a:ext cx="556609" cy="556609"/>
            </a:xfrm>
            <a:prstGeom prst="ellipse">
              <a:avLst/>
            </a:prstGeom>
            <a:solidFill>
              <a:srgbClr val="57534E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57534E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DD769AFD-F67F-4555-9AA7-56EFE144E34A}"/>
                </a:ext>
              </a:extLst>
            </p:cNvPr>
            <p:cNvSpPr/>
            <p:nvPr/>
          </p:nvSpPr>
          <p:spPr>
            <a:xfrm>
              <a:off x="-970564" y="4201696"/>
              <a:ext cx="556609" cy="556609"/>
            </a:xfrm>
            <a:prstGeom prst="ellipse">
              <a:avLst/>
            </a:prstGeom>
            <a:solidFill>
              <a:srgbClr val="1C1917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1C1917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81BF18EB-7576-025D-062E-05E79735C816}"/>
                </a:ext>
              </a:extLst>
            </p:cNvPr>
            <p:cNvSpPr/>
            <p:nvPr/>
          </p:nvSpPr>
          <p:spPr>
            <a:xfrm>
              <a:off x="-970564" y="2098357"/>
              <a:ext cx="556609" cy="556609"/>
            </a:xfrm>
            <a:prstGeom prst="ellipse">
              <a:avLst/>
            </a:prstGeom>
            <a:solidFill>
              <a:srgbClr val="071F65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071F65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794CC00D-B113-53F5-BA64-0CFB790A40F3}"/>
                </a:ext>
              </a:extLst>
            </p:cNvPr>
            <p:cNvSpPr/>
            <p:nvPr/>
          </p:nvSpPr>
          <p:spPr>
            <a:xfrm>
              <a:off x="-970564" y="1397244"/>
              <a:ext cx="556609" cy="556609"/>
            </a:xfrm>
            <a:prstGeom prst="ellipse">
              <a:avLst/>
            </a:prstGeom>
            <a:solidFill>
              <a:srgbClr val="801626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801626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B0A23ADC-F9AE-7AF9-45E4-E029E51D8691}"/>
                </a:ext>
              </a:extLst>
            </p:cNvPr>
            <p:cNvSpPr/>
            <p:nvPr/>
          </p:nvSpPr>
          <p:spPr>
            <a:xfrm>
              <a:off x="-970564" y="-4982"/>
              <a:ext cx="556609" cy="556609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E6341F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2DFC961-D655-F6BF-3A75-76EE146EF48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333999" y="0"/>
            <a:ext cx="6858001" cy="6858000"/>
          </a:xfrm>
          <a:custGeom>
            <a:avLst/>
            <a:gdLst>
              <a:gd name="connsiteX0" fmla="*/ 3429000 w 6858001"/>
              <a:gd name="connsiteY0" fmla="*/ 0 h 6858000"/>
              <a:gd name="connsiteX1" fmla="*/ 6858001 w 6858001"/>
              <a:gd name="connsiteY1" fmla="*/ 0 h 6858000"/>
              <a:gd name="connsiteX2" fmla="*/ 6858001 w 6858001"/>
              <a:gd name="connsiteY2" fmla="*/ 6858000 h 6858000"/>
              <a:gd name="connsiteX3" fmla="*/ 3429000 w 6858001"/>
              <a:gd name="connsiteY3" fmla="*/ 6858000 h 6858000"/>
              <a:gd name="connsiteX4" fmla="*/ 0 w 6858001"/>
              <a:gd name="connsiteY4" fmla="*/ 3429000 h 6858000"/>
              <a:gd name="connsiteX5" fmla="*/ 3429000 w 685800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1" h="6858000">
                <a:moveTo>
                  <a:pt x="3429000" y="0"/>
                </a:moveTo>
                <a:lnTo>
                  <a:pt x="6858001" y="0"/>
                </a:lnTo>
                <a:lnTo>
                  <a:pt x="6858001" y="6858000"/>
                </a:lnTo>
                <a:lnTo>
                  <a:pt x="3429000" y="6858000"/>
                </a:lnTo>
                <a:cubicBezTo>
                  <a:pt x="1535430" y="6858000"/>
                  <a:pt x="0" y="5322570"/>
                  <a:pt x="0" y="3429000"/>
                </a:cubicBezTo>
                <a:cubicBezTo>
                  <a:pt x="0" y="1535430"/>
                  <a:pt x="1535430" y="0"/>
                  <a:pt x="342900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26405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- Photo R 1">
    <p:bg>
      <p:bgPr>
        <a:gradFill>
          <a:gsLst>
            <a:gs pos="0">
              <a:schemeClr val="accent1"/>
            </a:gs>
            <a:gs pos="98000">
              <a:schemeClr val="accent2"/>
            </a:gs>
          </a:gsLst>
          <a:lin ang="10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F2CD2E9-CAF2-CEE2-930A-1234E67516C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333999" y="0"/>
            <a:ext cx="6858001" cy="6858000"/>
          </a:xfrm>
          <a:custGeom>
            <a:avLst/>
            <a:gdLst>
              <a:gd name="connsiteX0" fmla="*/ 3429000 w 6858001"/>
              <a:gd name="connsiteY0" fmla="*/ 0 h 6858000"/>
              <a:gd name="connsiteX1" fmla="*/ 6858001 w 6858001"/>
              <a:gd name="connsiteY1" fmla="*/ 0 h 6858000"/>
              <a:gd name="connsiteX2" fmla="*/ 6858001 w 6858001"/>
              <a:gd name="connsiteY2" fmla="*/ 6858000 h 6858000"/>
              <a:gd name="connsiteX3" fmla="*/ 3429000 w 6858001"/>
              <a:gd name="connsiteY3" fmla="*/ 6858000 h 6858000"/>
              <a:gd name="connsiteX4" fmla="*/ 0 w 6858001"/>
              <a:gd name="connsiteY4" fmla="*/ 3429000 h 6858000"/>
              <a:gd name="connsiteX5" fmla="*/ 3429000 w 685800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1" h="6858000">
                <a:moveTo>
                  <a:pt x="3429000" y="0"/>
                </a:moveTo>
                <a:lnTo>
                  <a:pt x="6858001" y="0"/>
                </a:lnTo>
                <a:lnTo>
                  <a:pt x="6858001" y="6858000"/>
                </a:lnTo>
                <a:lnTo>
                  <a:pt x="3429000" y="6858000"/>
                </a:lnTo>
                <a:cubicBezTo>
                  <a:pt x="1535430" y="6858000"/>
                  <a:pt x="0" y="5322570"/>
                  <a:pt x="0" y="3429000"/>
                </a:cubicBezTo>
                <a:cubicBezTo>
                  <a:pt x="0" y="1535430"/>
                  <a:pt x="1535430" y="0"/>
                  <a:pt x="342900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A800565-0ADB-A6AB-4757-C78B06755D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4"/>
            <a:ext cx="8446294" cy="1115601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AFF63D0C-4531-D23E-2B13-FAB47171FEA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9430" y="2338202"/>
            <a:ext cx="8446295" cy="40005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l">
              <a:buNone/>
              <a:defRPr>
                <a:solidFill>
                  <a:schemeClr val="bg1"/>
                </a:solidFill>
              </a:defRPr>
            </a:lvl2pPr>
            <a:lvl3pPr marL="914400" indent="0" algn="l">
              <a:buNone/>
              <a:defRPr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bg1"/>
                </a:solidFill>
              </a:defRPr>
            </a:lvl4pPr>
            <a:lvl5pPr marL="1828800" indent="0" algn="l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ijdelijke aanduiding voor tekst 5">
            <a:extLst>
              <a:ext uri="{FF2B5EF4-FFF2-40B4-BE49-F238E27FC236}">
                <a16:creationId xmlns:a16="http://schemas.microsoft.com/office/drawing/2014/main" id="{F58BB83A-890E-A88B-6FBD-436A3ECE4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717E087B-986E-C2CB-7126-1F2157A399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89D46DD-8786-2FF2-0F39-DE1D910D6D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286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43526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- Photo R 2">
    <p:bg>
      <p:bgPr>
        <a:gradFill>
          <a:gsLst>
            <a:gs pos="49000">
              <a:srgbClr val="E53625"/>
            </a:gs>
            <a:gs pos="79170">
              <a:srgbClr val="F36E21"/>
            </a:gs>
          </a:gsLst>
          <a:lin ang="10800004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20EFDE46-A248-BF6E-E5BF-9274F866547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29000" y="0"/>
            <a:ext cx="8763000" cy="6858000"/>
          </a:xfrm>
          <a:custGeom>
            <a:avLst/>
            <a:gdLst>
              <a:gd name="connsiteX0" fmla="*/ 0 w 8763000"/>
              <a:gd name="connsiteY0" fmla="*/ 0 h 6858000"/>
              <a:gd name="connsiteX1" fmla="*/ 8763000 w 8763000"/>
              <a:gd name="connsiteY1" fmla="*/ 0 h 6858000"/>
              <a:gd name="connsiteX2" fmla="*/ 8763000 w 8763000"/>
              <a:gd name="connsiteY2" fmla="*/ 6858000 h 6858000"/>
              <a:gd name="connsiteX3" fmla="*/ 0 w 8763000"/>
              <a:gd name="connsiteY3" fmla="*/ 6858000 h 6858000"/>
              <a:gd name="connsiteX4" fmla="*/ 3429000 w 8763000"/>
              <a:gd name="connsiteY4" fmla="*/ 3429000 h 6858000"/>
              <a:gd name="connsiteX5" fmla="*/ 0 w 876300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763000" h="6858000">
                <a:moveTo>
                  <a:pt x="0" y="0"/>
                </a:moveTo>
                <a:lnTo>
                  <a:pt x="8763000" y="0"/>
                </a:lnTo>
                <a:lnTo>
                  <a:pt x="8763000" y="6858000"/>
                </a:lnTo>
                <a:lnTo>
                  <a:pt x="0" y="6858000"/>
                </a:lnTo>
                <a:cubicBezTo>
                  <a:pt x="1893570" y="6858000"/>
                  <a:pt x="3429000" y="5322570"/>
                  <a:pt x="3429000" y="3429000"/>
                </a:cubicBezTo>
                <a:cubicBezTo>
                  <a:pt x="3429000" y="1535430"/>
                  <a:pt x="1893570" y="0"/>
                  <a:pt x="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numCol="1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75CE3AF-70AA-D1DC-8490-E173E4EB42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4"/>
            <a:ext cx="8446294" cy="1115601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F1BF54A8-0D53-295A-8570-3C910CAEBE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9430" y="2338202"/>
            <a:ext cx="8446295" cy="40005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l">
              <a:buNone/>
              <a:defRPr>
                <a:solidFill>
                  <a:schemeClr val="bg1"/>
                </a:solidFill>
              </a:defRPr>
            </a:lvl2pPr>
            <a:lvl3pPr marL="914400" indent="0" algn="l">
              <a:buNone/>
              <a:defRPr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bg1"/>
                </a:solidFill>
              </a:defRPr>
            </a:lvl4pPr>
            <a:lvl5pPr marL="1828800" indent="0" algn="l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ijdelijke aanduiding voor tekst 5">
            <a:extLst>
              <a:ext uri="{FF2B5EF4-FFF2-40B4-BE49-F238E27FC236}">
                <a16:creationId xmlns:a16="http://schemas.microsoft.com/office/drawing/2014/main" id="{6887D23B-F7AE-C026-0D8B-64E31BE6950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4D140869-DEA2-5B59-18AF-DFF36592DF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CC8DB11-BEB2-81C3-1024-836C4A09B3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286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74519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3964CE3A-860F-CD55-3E27-6776A72B0F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4"/>
            <a:ext cx="8446294" cy="1115601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87BCBC6B-6423-54E4-FABE-51E8FF15892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9430" y="2338202"/>
            <a:ext cx="8446295" cy="40005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l">
              <a:buNone/>
              <a:defRPr>
                <a:solidFill>
                  <a:schemeClr val="bg1"/>
                </a:solidFill>
              </a:defRPr>
            </a:lvl2pPr>
            <a:lvl3pPr marL="914400" indent="0" algn="l">
              <a:buNone/>
              <a:defRPr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bg1"/>
                </a:solidFill>
              </a:defRPr>
            </a:lvl4pPr>
            <a:lvl5pPr marL="1828800" indent="0" algn="l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ijdelijke aanduiding voor tekst 5">
            <a:extLst>
              <a:ext uri="{FF2B5EF4-FFF2-40B4-BE49-F238E27FC236}">
                <a16:creationId xmlns:a16="http://schemas.microsoft.com/office/drawing/2014/main" id="{BEA93355-34F5-9F5D-3FDF-D70C224BE4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7AC302A-B368-8068-89DE-64B70CDAB6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9E53890-99F2-34B1-5E6B-41531DBC4A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286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26A5F3E-A207-139C-5FDE-DEAB784CE8B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24771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3964CE3A-860F-CD55-3E27-6776A72B0F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4"/>
            <a:ext cx="8446294" cy="1115601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87BCBC6B-6423-54E4-FABE-51E8FF15892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9430" y="2338202"/>
            <a:ext cx="8446295" cy="40005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l">
              <a:buNone/>
              <a:defRPr>
                <a:solidFill>
                  <a:schemeClr val="bg1"/>
                </a:solidFill>
              </a:defRPr>
            </a:lvl2pPr>
            <a:lvl3pPr marL="914400" indent="0" algn="l">
              <a:buNone/>
              <a:defRPr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bg1"/>
                </a:solidFill>
              </a:defRPr>
            </a:lvl4pPr>
            <a:lvl5pPr marL="1828800" indent="0" algn="l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ijdelijke aanduiding voor tekst 5">
            <a:extLst>
              <a:ext uri="{FF2B5EF4-FFF2-40B4-BE49-F238E27FC236}">
                <a16:creationId xmlns:a16="http://schemas.microsoft.com/office/drawing/2014/main" id="{BEA93355-34F5-9F5D-3FDF-D70C224BE4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7AC302A-B368-8068-89DE-64B70CDAB6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9E53890-99F2-34B1-5E6B-41531DBC4A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286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4BA273F-B684-E672-70C2-128587BC248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26019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Vrije vorm 28">
            <a:extLst>
              <a:ext uri="{FF2B5EF4-FFF2-40B4-BE49-F238E27FC236}">
                <a16:creationId xmlns:a16="http://schemas.microsoft.com/office/drawing/2014/main" id="{BCDFA092-FC23-7FEC-BD34-CF9A33E28F4E}"/>
              </a:ext>
            </a:extLst>
          </p:cNvPr>
          <p:cNvSpPr/>
          <p:nvPr userDrawn="1"/>
        </p:nvSpPr>
        <p:spPr>
          <a:xfrm rot="10800000">
            <a:off x="9093200" y="0"/>
            <a:ext cx="3416300" cy="6857747"/>
          </a:xfrm>
          <a:custGeom>
            <a:avLst/>
            <a:gdLst>
              <a:gd name="connsiteX0" fmla="*/ 0 w 1638300"/>
              <a:gd name="connsiteY0" fmla="*/ 0 h 3288659"/>
              <a:gd name="connsiteX1" fmla="*/ 161806 w 1638300"/>
              <a:gd name="connsiteY1" fmla="*/ 8170 h 3288659"/>
              <a:gd name="connsiteX2" fmla="*/ 1638300 w 1638300"/>
              <a:gd name="connsiteY2" fmla="*/ 1644329 h 3288659"/>
              <a:gd name="connsiteX3" fmla="*/ 161806 w 1638300"/>
              <a:gd name="connsiteY3" fmla="*/ 3280488 h 3288659"/>
              <a:gd name="connsiteX4" fmla="*/ 0 w 1638300"/>
              <a:gd name="connsiteY4" fmla="*/ 3288659 h 3288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8300" h="3288659">
                <a:moveTo>
                  <a:pt x="0" y="0"/>
                </a:moveTo>
                <a:lnTo>
                  <a:pt x="161806" y="8170"/>
                </a:lnTo>
                <a:cubicBezTo>
                  <a:pt x="991131" y="92393"/>
                  <a:pt x="1638300" y="792784"/>
                  <a:pt x="1638300" y="1644329"/>
                </a:cubicBezTo>
                <a:cubicBezTo>
                  <a:pt x="1638300" y="2495875"/>
                  <a:pt x="991131" y="3196266"/>
                  <a:pt x="161806" y="3280488"/>
                </a:cubicBezTo>
                <a:lnTo>
                  <a:pt x="0" y="3288659"/>
                </a:lnTo>
                <a:close/>
              </a:path>
            </a:pathLst>
          </a:custGeom>
          <a:gradFill>
            <a:gsLst>
              <a:gs pos="48960">
                <a:srgbClr val="0E2FB9"/>
              </a:gs>
              <a:gs pos="12000">
                <a:schemeClr val="accent5"/>
              </a:gs>
              <a:gs pos="98000">
                <a:schemeClr val="accent4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/>
          </a:p>
        </p:txBody>
      </p:sp>
      <p:sp>
        <p:nvSpPr>
          <p:cNvPr id="30" name="Vrije vorm 29">
            <a:extLst>
              <a:ext uri="{FF2B5EF4-FFF2-40B4-BE49-F238E27FC236}">
                <a16:creationId xmlns:a16="http://schemas.microsoft.com/office/drawing/2014/main" id="{C3422B1B-7ED3-2413-7A44-873EBDD970A7}"/>
              </a:ext>
            </a:extLst>
          </p:cNvPr>
          <p:cNvSpPr/>
          <p:nvPr userDrawn="1"/>
        </p:nvSpPr>
        <p:spPr>
          <a:xfrm rot="10800000">
            <a:off x="5334000" y="0"/>
            <a:ext cx="3416300" cy="6857747"/>
          </a:xfrm>
          <a:custGeom>
            <a:avLst/>
            <a:gdLst>
              <a:gd name="connsiteX0" fmla="*/ 0 w 1638300"/>
              <a:gd name="connsiteY0" fmla="*/ 0 h 3288659"/>
              <a:gd name="connsiteX1" fmla="*/ 161806 w 1638300"/>
              <a:gd name="connsiteY1" fmla="*/ 8170 h 3288659"/>
              <a:gd name="connsiteX2" fmla="*/ 1638300 w 1638300"/>
              <a:gd name="connsiteY2" fmla="*/ 1644329 h 3288659"/>
              <a:gd name="connsiteX3" fmla="*/ 161806 w 1638300"/>
              <a:gd name="connsiteY3" fmla="*/ 3280488 h 3288659"/>
              <a:gd name="connsiteX4" fmla="*/ 0 w 1638300"/>
              <a:gd name="connsiteY4" fmla="*/ 3288659 h 3288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8300" h="3288659">
                <a:moveTo>
                  <a:pt x="0" y="0"/>
                </a:moveTo>
                <a:lnTo>
                  <a:pt x="161806" y="8170"/>
                </a:lnTo>
                <a:cubicBezTo>
                  <a:pt x="991131" y="92393"/>
                  <a:pt x="1638300" y="792784"/>
                  <a:pt x="1638300" y="1644329"/>
                </a:cubicBezTo>
                <a:cubicBezTo>
                  <a:pt x="1638300" y="2495875"/>
                  <a:pt x="991131" y="3196266"/>
                  <a:pt x="161806" y="3280488"/>
                </a:cubicBezTo>
                <a:lnTo>
                  <a:pt x="0" y="3288659"/>
                </a:lnTo>
                <a:close/>
              </a:path>
            </a:pathLst>
          </a:custGeom>
          <a:gradFill>
            <a:gsLst>
              <a:gs pos="48960">
                <a:srgbClr val="0E2FB9"/>
              </a:gs>
              <a:gs pos="12000">
                <a:schemeClr val="accent5"/>
              </a:gs>
              <a:gs pos="98000">
                <a:schemeClr val="accent4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D55B11-6C50-8A86-2B8C-26847A5FF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255612-95C8-7D48-6058-D92907752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F10BF2D-084A-7A6E-6867-0BCD31539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4"/>
            <a:ext cx="5580061" cy="1115601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51B415E5-F0E6-BEDB-2967-AB52E49193B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9430" y="2338202"/>
            <a:ext cx="5580061" cy="40005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l">
              <a:buNone/>
              <a:defRPr>
                <a:solidFill>
                  <a:schemeClr val="bg1"/>
                </a:solidFill>
              </a:defRPr>
            </a:lvl2pPr>
            <a:lvl3pPr marL="914400" indent="0" algn="l">
              <a:buNone/>
              <a:defRPr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bg1"/>
                </a:solidFill>
              </a:defRPr>
            </a:lvl4pPr>
            <a:lvl5pPr marL="1828800" indent="0" algn="l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Tijdelijke aanduiding voor tekst 5">
            <a:extLst>
              <a:ext uri="{FF2B5EF4-FFF2-40B4-BE49-F238E27FC236}">
                <a16:creationId xmlns:a16="http://schemas.microsoft.com/office/drawing/2014/main" id="{87B7184E-3FA3-042F-8D95-A5D71B86DDA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9996C50-8163-C24A-0197-8A7BCFE11B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48597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Orange 1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54F1845-25C5-C11A-0F79-C1448029D6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4"/>
            <a:ext cx="8446294" cy="1115601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41C134C6-A6D5-E7CF-65F5-D5259D14298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9430" y="2338202"/>
            <a:ext cx="8446295" cy="40005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l">
              <a:buNone/>
              <a:defRPr>
                <a:solidFill>
                  <a:schemeClr val="bg1"/>
                </a:solidFill>
              </a:defRPr>
            </a:lvl2pPr>
            <a:lvl3pPr marL="914400" indent="0" algn="l">
              <a:buNone/>
              <a:defRPr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bg1"/>
                </a:solidFill>
              </a:defRPr>
            </a:lvl4pPr>
            <a:lvl5pPr marL="1828800" indent="0" algn="l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ijdelijke aanduiding voor tekst 5">
            <a:extLst>
              <a:ext uri="{FF2B5EF4-FFF2-40B4-BE49-F238E27FC236}">
                <a16:creationId xmlns:a16="http://schemas.microsoft.com/office/drawing/2014/main" id="{BABC1290-1270-335B-636E-70C5410DE1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4010091-DACE-1742-7DFB-24F263668F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700C0AB-9058-4F08-F348-EF4FD576B8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286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545008C-4A34-AF16-7F5F-CD0F0F14399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  <p:cxnSp>
        <p:nvCxnSpPr>
          <p:cNvPr id="7" name="Rechte verbindingslijn 9">
            <a:extLst>
              <a:ext uri="{FF2B5EF4-FFF2-40B4-BE49-F238E27FC236}">
                <a16:creationId xmlns:a16="http://schemas.microsoft.com/office/drawing/2014/main" id="{383EF315-5419-3016-AFA6-816A9569F02F}"/>
              </a:ext>
            </a:extLst>
          </p:cNvPr>
          <p:cNvCxnSpPr/>
          <p:nvPr userDrawn="1"/>
        </p:nvCxnSpPr>
        <p:spPr>
          <a:xfrm flipV="1">
            <a:off x="10833100" y="0"/>
            <a:ext cx="0" cy="596900"/>
          </a:xfrm>
          <a:prstGeom prst="line">
            <a:avLst/>
          </a:prstGeom>
          <a:ln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60538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topic 1">
    <p:bg>
      <p:bgPr>
        <a:gradFill flip="none" rotWithShape="1">
          <a:gsLst>
            <a:gs pos="0">
              <a:srgbClr val="7B112A"/>
            </a:gs>
            <a:gs pos="48000">
              <a:srgbClr val="B4292B"/>
            </a:gs>
            <a:gs pos="98000">
              <a:srgbClr val="EE422C"/>
            </a:gs>
          </a:gsLst>
          <a:lin ang="10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A1249991-D1D9-6AA6-49EB-21D83BACD61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316467" y="0"/>
            <a:ext cx="6875533" cy="6867525"/>
          </a:xfrm>
          <a:custGeom>
            <a:avLst/>
            <a:gdLst>
              <a:gd name="connsiteX0" fmla="*/ 6434433 w 6899170"/>
              <a:gd name="connsiteY0" fmla="*/ 0 h 6858000"/>
              <a:gd name="connsiteX1" fmla="*/ 6899170 w 6899170"/>
              <a:gd name="connsiteY1" fmla="*/ 0 h 6858000"/>
              <a:gd name="connsiteX2" fmla="*/ 6899170 w 6899170"/>
              <a:gd name="connsiteY2" fmla="*/ 6858000 h 6858000"/>
              <a:gd name="connsiteX3" fmla="*/ 0 w 6899170"/>
              <a:gd name="connsiteY3" fmla="*/ 6858000 h 6858000"/>
              <a:gd name="connsiteX4" fmla="*/ 6812 w 6899170"/>
              <a:gd name="connsiteY4" fmla="*/ 6570687 h 6858000"/>
              <a:gd name="connsiteX5" fmla="*/ 6214863 w 6899170"/>
              <a:gd name="connsiteY5" fmla="*/ 1669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99170" h="6858000">
                <a:moveTo>
                  <a:pt x="6434433" y="0"/>
                </a:moveTo>
                <a:lnTo>
                  <a:pt x="6899170" y="0"/>
                </a:lnTo>
                <a:lnTo>
                  <a:pt x="6899170" y="6858000"/>
                </a:lnTo>
                <a:lnTo>
                  <a:pt x="0" y="6858000"/>
                </a:lnTo>
                <a:lnTo>
                  <a:pt x="6812" y="6570687"/>
                </a:lnTo>
                <a:cubicBezTo>
                  <a:pt x="169923" y="3138129"/>
                  <a:pt x="2832551" y="360190"/>
                  <a:pt x="6214863" y="16697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5" name="Isosceles Triangle 14">
            <a:extLst>
              <a:ext uri="{FF2B5EF4-FFF2-40B4-BE49-F238E27FC236}">
                <a16:creationId xmlns:a16="http://schemas.microsoft.com/office/drawing/2014/main" id="{0953609A-6B2B-D7B4-4CFB-7254D628956E}"/>
              </a:ext>
            </a:extLst>
          </p:cNvPr>
          <p:cNvSpPr/>
          <p:nvPr userDrawn="1"/>
        </p:nvSpPr>
        <p:spPr>
          <a:xfrm rot="5400000">
            <a:off x="-1737392" y="1737392"/>
            <a:ext cx="6858000" cy="3383216"/>
          </a:xfrm>
          <a:prstGeom prst="triangle">
            <a:avLst/>
          </a:prstGeom>
          <a:solidFill>
            <a:schemeClr val="tx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11132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5B4FB5-771F-2B79-E70A-B5CFE03525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9" y="2076653"/>
            <a:ext cx="5580062" cy="1352347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BCB77F84-3C3E-7FC3-AF05-4E2CF1133B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8893" y="3964506"/>
            <a:ext cx="5567108" cy="323165"/>
          </a:xfrm>
          <a:noFill/>
        </p:spPr>
        <p:txBody>
          <a:bodyPr wrap="square" lIns="0" tIns="0" rIns="0" bIns="0" rtlCol="0" anchor="b">
            <a:noAutofit/>
          </a:bodyPr>
          <a:lstStyle>
            <a:lvl1pPr marL="0" indent="0">
              <a:spcBef>
                <a:spcPts val="0"/>
              </a:spcBef>
              <a:buNone/>
              <a:defRPr lang="en-US" sz="1600" smtClean="0">
                <a:solidFill>
                  <a:schemeClr val="bg1"/>
                </a:solidFill>
                <a:latin typeface="+mn-lt"/>
              </a:defRPr>
            </a:lvl1pPr>
            <a:lvl2pPr>
              <a:defRPr lang="en-US" smtClean="0"/>
            </a:lvl2pPr>
            <a:lvl3pPr>
              <a:defRPr lang="en-US" sz="1800" smtClean="0"/>
            </a:lvl3pPr>
            <a:lvl4pPr>
              <a:defRPr lang="en-US" sz="1800" smtClean="0"/>
            </a:lvl4pPr>
            <a:lvl5pPr>
              <a:defRPr lang="en-US" sz="1800"/>
            </a:lvl5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46C1B9D-30E6-E0B3-97CF-E0936F21A0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3465472"/>
            <a:ext cx="5567108" cy="507216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 algn="l">
              <a:buNone/>
              <a:defRPr>
                <a:solidFill>
                  <a:schemeClr val="bg1"/>
                </a:solidFill>
              </a:defRPr>
            </a:lvl2pPr>
            <a:lvl3pPr marL="914400" indent="0" algn="l">
              <a:buNone/>
              <a:defRPr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bg1"/>
                </a:solidFill>
              </a:defRPr>
            </a:lvl4pPr>
            <a:lvl5pPr marL="1828800" indent="0" algn="l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B33166B0-6932-3113-E1C5-E2EC60C64A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2926" y="1376363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73D1AE16-C08A-D8C5-3388-93EB5F29B4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938" y="0"/>
            <a:ext cx="1591688" cy="80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780779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Orange 2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54F1845-25C5-C11A-0F79-C1448029D6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4"/>
            <a:ext cx="8446294" cy="1115601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41C134C6-A6D5-E7CF-65F5-D5259D14298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9430" y="2338202"/>
            <a:ext cx="8446295" cy="40005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l">
              <a:buNone/>
              <a:defRPr>
                <a:solidFill>
                  <a:schemeClr val="bg1"/>
                </a:solidFill>
              </a:defRPr>
            </a:lvl2pPr>
            <a:lvl3pPr marL="914400" indent="0" algn="l">
              <a:buNone/>
              <a:defRPr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bg1"/>
                </a:solidFill>
              </a:defRPr>
            </a:lvl4pPr>
            <a:lvl5pPr marL="1828800" indent="0" algn="l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ijdelijke aanduiding voor tekst 5">
            <a:extLst>
              <a:ext uri="{FF2B5EF4-FFF2-40B4-BE49-F238E27FC236}">
                <a16:creationId xmlns:a16="http://schemas.microsoft.com/office/drawing/2014/main" id="{BABC1290-1270-335B-636E-70C5410DE1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4010091-DACE-1742-7DFB-24F263668F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700C0AB-9058-4F08-F348-EF4FD576B8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286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0AFF043-74FE-812F-62F0-62682070068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720448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Orange 3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54F1845-25C5-C11A-0F79-C1448029D6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4"/>
            <a:ext cx="8446294" cy="1115601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41C134C6-A6D5-E7CF-65F5-D5259D14298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9430" y="2338202"/>
            <a:ext cx="8446295" cy="40005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l">
              <a:buNone/>
              <a:defRPr>
                <a:solidFill>
                  <a:schemeClr val="bg1"/>
                </a:solidFill>
              </a:defRPr>
            </a:lvl2pPr>
            <a:lvl3pPr marL="914400" indent="0" algn="l">
              <a:buNone/>
              <a:defRPr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bg1"/>
                </a:solidFill>
              </a:defRPr>
            </a:lvl4pPr>
            <a:lvl5pPr marL="1828800" indent="0" algn="l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ijdelijke aanduiding voor tekst 5">
            <a:extLst>
              <a:ext uri="{FF2B5EF4-FFF2-40B4-BE49-F238E27FC236}">
                <a16:creationId xmlns:a16="http://schemas.microsoft.com/office/drawing/2014/main" id="{BABC1290-1270-335B-636E-70C5410DE1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4010091-DACE-1742-7DFB-24F263668F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700C0AB-9058-4F08-F348-EF4FD576B8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286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42E1111-DB48-960F-B6EB-8B895A96733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66536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Orange Photo R">
    <p:bg>
      <p:bgPr>
        <a:gradFill>
          <a:gsLst>
            <a:gs pos="0">
              <a:schemeClr val="accent4"/>
            </a:gs>
            <a:gs pos="98000">
              <a:schemeClr val="accent5"/>
            </a:gs>
          </a:gsLst>
          <a:lin ang="10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9889FF7-8885-5C4C-08E2-5FE100A783C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343470" y="0"/>
            <a:ext cx="6848530" cy="6858000"/>
          </a:xfrm>
          <a:custGeom>
            <a:avLst/>
            <a:gdLst>
              <a:gd name="connsiteX0" fmla="*/ 3419531 w 6848530"/>
              <a:gd name="connsiteY0" fmla="*/ 0 h 6858000"/>
              <a:gd name="connsiteX1" fmla="*/ 6848530 w 6848530"/>
              <a:gd name="connsiteY1" fmla="*/ 3429000 h 6858000"/>
              <a:gd name="connsiteX2" fmla="*/ 3419531 w 6848530"/>
              <a:gd name="connsiteY2" fmla="*/ 6858000 h 6858000"/>
              <a:gd name="connsiteX3" fmla="*/ 0 w 6848530"/>
              <a:gd name="connsiteY3" fmla="*/ 3438469 h 6858000"/>
              <a:gd name="connsiteX4" fmla="*/ 0 w 6848530"/>
              <a:gd name="connsiteY4" fmla="*/ 341953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48530" h="6858000">
                <a:moveTo>
                  <a:pt x="3419531" y="0"/>
                </a:moveTo>
                <a:lnTo>
                  <a:pt x="6848530" y="3429000"/>
                </a:lnTo>
                <a:lnTo>
                  <a:pt x="3419531" y="6858000"/>
                </a:lnTo>
                <a:lnTo>
                  <a:pt x="0" y="3438469"/>
                </a:lnTo>
                <a:lnTo>
                  <a:pt x="0" y="341953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2E714EA-6814-9091-43E8-5B5FE0BC64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4"/>
            <a:ext cx="8446294" cy="1115601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3DA8BF2F-F339-1A02-65CC-2B0969DC918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9430" y="2338202"/>
            <a:ext cx="8446295" cy="40005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l">
              <a:buNone/>
              <a:defRPr>
                <a:solidFill>
                  <a:schemeClr val="bg1"/>
                </a:solidFill>
              </a:defRPr>
            </a:lvl2pPr>
            <a:lvl3pPr marL="914400" indent="0" algn="l">
              <a:buNone/>
              <a:defRPr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bg1"/>
                </a:solidFill>
              </a:defRPr>
            </a:lvl4pPr>
            <a:lvl5pPr marL="1828800" indent="0" algn="l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ijdelijke aanduiding voor tekst 5">
            <a:extLst>
              <a:ext uri="{FF2B5EF4-FFF2-40B4-BE49-F238E27FC236}">
                <a16:creationId xmlns:a16="http://schemas.microsoft.com/office/drawing/2014/main" id="{6152ADEB-1FD0-3F6A-BBC9-19F81E41671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227007B-6481-4EC3-00B6-C568A98A1A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902D216-B1C1-97DD-AC6F-93E6D43BAA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3286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84B73A5-0071-7246-9653-FDC1129A42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6675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Photo R 1">
    <p:bg>
      <p:bgPr>
        <a:gradFill>
          <a:gsLst>
            <a:gs pos="0">
              <a:schemeClr val="tx1"/>
            </a:gs>
            <a:gs pos="98000">
              <a:schemeClr val="accent4"/>
            </a:gs>
          </a:gsLst>
          <a:lin ang="10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0FB7870B-051E-28A5-6CD9-13C69456DA6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334000" y="0"/>
            <a:ext cx="6853928" cy="6858000"/>
          </a:xfrm>
          <a:custGeom>
            <a:avLst/>
            <a:gdLst>
              <a:gd name="connsiteX0" fmla="*/ 0 w 6853928"/>
              <a:gd name="connsiteY0" fmla="*/ 0 h 6858000"/>
              <a:gd name="connsiteX1" fmla="*/ 3424927 w 6853928"/>
              <a:gd name="connsiteY1" fmla="*/ 0 h 6858000"/>
              <a:gd name="connsiteX2" fmla="*/ 6853928 w 6853928"/>
              <a:gd name="connsiteY2" fmla="*/ 3429001 h 6858000"/>
              <a:gd name="connsiteX3" fmla="*/ 3424928 w 6853928"/>
              <a:gd name="connsiteY3" fmla="*/ 6858000 h 6858000"/>
              <a:gd name="connsiteX4" fmla="*/ 0 w 6853928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3928" h="6858000">
                <a:moveTo>
                  <a:pt x="0" y="0"/>
                </a:moveTo>
                <a:lnTo>
                  <a:pt x="3424927" y="0"/>
                </a:lnTo>
                <a:lnTo>
                  <a:pt x="6853928" y="3429001"/>
                </a:lnTo>
                <a:lnTo>
                  <a:pt x="342492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7EFA3CD-55C5-302D-4FA9-6B95CA808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4"/>
            <a:ext cx="8446294" cy="1115601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30BA204A-4144-743D-BC1C-82C64FBF8FF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9430" y="2338202"/>
            <a:ext cx="8446295" cy="40005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l">
              <a:buNone/>
              <a:defRPr>
                <a:solidFill>
                  <a:schemeClr val="bg1"/>
                </a:solidFill>
              </a:defRPr>
            </a:lvl2pPr>
            <a:lvl3pPr marL="914400" indent="0" algn="l">
              <a:buNone/>
              <a:defRPr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bg1"/>
                </a:solidFill>
              </a:defRPr>
            </a:lvl4pPr>
            <a:lvl5pPr marL="1828800" indent="0" algn="l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ijdelijke aanduiding voor tekst 5">
            <a:extLst>
              <a:ext uri="{FF2B5EF4-FFF2-40B4-BE49-F238E27FC236}">
                <a16:creationId xmlns:a16="http://schemas.microsoft.com/office/drawing/2014/main" id="{D0C5492E-F18D-57F3-69EB-AF888A0B450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628C1476-CFBA-58E7-4AD3-75B9DA4F39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1422B020-F26B-C744-BA0F-1F0B77CD0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32861" y="635635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C66B4A2-85D7-0C04-9ED3-08DEA5B7AA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87585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Blue Photo R 2">
    <p:bg>
      <p:bgPr>
        <a:gradFill>
          <a:gsLst>
            <a:gs pos="0">
              <a:schemeClr val="tx1"/>
            </a:gs>
            <a:gs pos="98000">
              <a:schemeClr val="accent4"/>
            </a:gs>
          </a:gsLst>
          <a:lin ang="10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8A9677E2-D840-DD38-5107-02F484EC127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1400" y="0"/>
            <a:ext cx="60706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tabLst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A852B03-1C99-8C20-4450-F4C355629F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4"/>
            <a:ext cx="5580061" cy="1115601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833900AA-9D6D-EAC6-4DA9-20079B3B5DE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9430" y="2338202"/>
            <a:ext cx="5580061" cy="40005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l">
              <a:buNone/>
              <a:defRPr>
                <a:solidFill>
                  <a:schemeClr val="bg1"/>
                </a:solidFill>
              </a:defRPr>
            </a:lvl2pPr>
            <a:lvl3pPr marL="914400" indent="0" algn="l">
              <a:buNone/>
              <a:defRPr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bg1"/>
                </a:solidFill>
              </a:defRPr>
            </a:lvl4pPr>
            <a:lvl5pPr marL="1828800" indent="0" algn="l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ijdelijke aanduiding voor tekst 5">
            <a:extLst>
              <a:ext uri="{FF2B5EF4-FFF2-40B4-BE49-F238E27FC236}">
                <a16:creationId xmlns:a16="http://schemas.microsoft.com/office/drawing/2014/main" id="{17ABFAC2-3B13-BA9E-0E54-17E8EEF50A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4079C5AE-C25F-AB4B-83DB-2BC4427DC9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481D7CE-DC01-632E-09B3-90453EE0D1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32861" y="635635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07508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Quote - Red">
    <p:bg>
      <p:bgPr>
        <a:gradFill>
          <a:gsLst>
            <a:gs pos="100000">
              <a:schemeClr val="accent3"/>
            </a:gs>
            <a:gs pos="0">
              <a:schemeClr val="accent2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F40FC8-F10E-B9A2-274A-41B0054746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2F819A9-EBBA-6995-E686-CC10272640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23A49041-5E49-582D-CF2C-9BF70A2852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572DE3BE-B240-0C9E-0FF5-BC56829B25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4"/>
            <a:ext cx="8446294" cy="1115601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E1168E10-B9B3-AEED-6421-529ECAB8804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9430" y="2338202"/>
            <a:ext cx="8446295" cy="40005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l">
              <a:buNone/>
              <a:defRPr>
                <a:solidFill>
                  <a:schemeClr val="bg1"/>
                </a:solidFill>
              </a:defRPr>
            </a:lvl2pPr>
            <a:lvl3pPr marL="914400" indent="0" algn="l">
              <a:buNone/>
              <a:defRPr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bg1"/>
                </a:solidFill>
              </a:defRPr>
            </a:lvl4pPr>
            <a:lvl5pPr marL="1828800" indent="0" algn="l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Tijdelijke aanduiding voor tekst 5">
            <a:extLst>
              <a:ext uri="{FF2B5EF4-FFF2-40B4-BE49-F238E27FC236}">
                <a16:creationId xmlns:a16="http://schemas.microsoft.com/office/drawing/2014/main" id="{302C0204-14B5-CF37-63B7-CC3F2F4E122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9387124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Quote - Blue">
    <p:bg>
      <p:bgPr>
        <a:gradFill flip="none" rotWithShape="1">
          <a:gsLst>
            <a:gs pos="0">
              <a:schemeClr val="accent4"/>
            </a:gs>
            <a:gs pos="100000">
              <a:schemeClr val="accent5"/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D55B11-6C50-8A86-2B8C-26847A5FF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255612-95C8-7D48-6058-D92907752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4DFF0CD-40BD-86FE-5370-72306F22AA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FAABD9CB-C744-8695-98C2-83733BEAD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4"/>
            <a:ext cx="8446294" cy="1115601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D3F8AF57-F563-957C-08C6-0AF3FFB231F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9430" y="2338202"/>
            <a:ext cx="8446295" cy="40005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l">
              <a:buNone/>
              <a:defRPr>
                <a:solidFill>
                  <a:schemeClr val="bg1"/>
                </a:solidFill>
              </a:defRPr>
            </a:lvl2pPr>
            <a:lvl3pPr marL="914400" indent="0" algn="l">
              <a:buNone/>
              <a:defRPr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bg1"/>
                </a:solidFill>
              </a:defRPr>
            </a:lvl4pPr>
            <a:lvl5pPr marL="1828800" indent="0" algn="l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ijdelijke aanduiding voor tekst 5">
            <a:extLst>
              <a:ext uri="{FF2B5EF4-FFF2-40B4-BE49-F238E27FC236}">
                <a16:creationId xmlns:a16="http://schemas.microsoft.com/office/drawing/2014/main" id="{ADEBD505-FF4C-7AC7-0E01-2DAAD55ACF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7547287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visu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B6AF9957-C02D-4200-210B-412C4BC19924}"/>
              </a:ext>
            </a:extLst>
          </p:cNvPr>
          <p:cNvSpPr/>
          <p:nvPr userDrawn="1"/>
        </p:nvSpPr>
        <p:spPr>
          <a:xfrm>
            <a:off x="0" y="0"/>
            <a:ext cx="1216837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C9AFF3C-8537-DCA6-E796-C2CC4C9EFF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1811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4487863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6CDFBFC-F4F7-CB5E-26E3-5E41C1630F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2076653"/>
            <a:ext cx="8459787" cy="800101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805639F0-3298-98F0-23D6-C4CA4B0841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8892" y="3418406"/>
            <a:ext cx="8446833" cy="323165"/>
          </a:xfrm>
          <a:noFill/>
        </p:spPr>
        <p:txBody>
          <a:bodyPr wrap="square" lIns="0" tIns="0" rIns="0" bIns="0" rtlCol="0" anchor="b">
            <a:noAutofit/>
          </a:bodyPr>
          <a:lstStyle>
            <a:lvl1pPr marL="0" indent="0">
              <a:spcBef>
                <a:spcPts val="0"/>
              </a:spcBef>
              <a:buNone/>
              <a:defRPr lang="en-US" sz="1600" smtClean="0">
                <a:solidFill>
                  <a:schemeClr val="bg1"/>
                </a:solidFill>
                <a:latin typeface="+mn-lt"/>
              </a:defRPr>
            </a:lvl1pPr>
            <a:lvl2pPr>
              <a:defRPr lang="en-US" smtClean="0"/>
            </a:lvl2pPr>
            <a:lvl3pPr>
              <a:defRPr lang="en-US" sz="1800" smtClean="0"/>
            </a:lvl3pPr>
            <a:lvl4pPr>
              <a:defRPr lang="en-US" sz="1800" smtClean="0"/>
            </a:lvl4pPr>
            <a:lvl5pPr>
              <a:defRPr lang="en-US" sz="1800"/>
            </a:lvl5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C7A38E5D-896D-27A7-4A84-D687F293D2D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8892" y="2893972"/>
            <a:ext cx="8446833" cy="507216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 algn="l">
              <a:buNone/>
              <a:defRPr>
                <a:solidFill>
                  <a:schemeClr val="bg1"/>
                </a:solidFill>
              </a:defRPr>
            </a:lvl2pPr>
            <a:lvl3pPr marL="914400" indent="0" algn="l">
              <a:buNone/>
              <a:defRPr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bg1"/>
                </a:solidFill>
              </a:defRPr>
            </a:lvl4pPr>
            <a:lvl5pPr marL="1828800" indent="0" algn="l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Tijdelijke aanduiding voor tekst 5">
            <a:extLst>
              <a:ext uri="{FF2B5EF4-FFF2-40B4-BE49-F238E27FC236}">
                <a16:creationId xmlns:a16="http://schemas.microsoft.com/office/drawing/2014/main" id="{17BF0656-8F6D-0F73-D980-E01F814137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2926" y="1376363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403AA7F6-4167-8269-E534-76D95F5837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8BB9897-B9F3-6361-6033-8EBC97C461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32861" y="635635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E063388-2736-9E19-8707-40E2433333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166289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rrent&gt;Desired situatio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hoek 13">
            <a:extLst>
              <a:ext uri="{FF2B5EF4-FFF2-40B4-BE49-F238E27FC236}">
                <a16:creationId xmlns:a16="http://schemas.microsoft.com/office/drawing/2014/main" id="{736092AF-FC91-0E83-1C7C-124A4D77D913}"/>
              </a:ext>
            </a:extLst>
          </p:cNvPr>
          <p:cNvSpPr/>
          <p:nvPr userDrawn="1"/>
        </p:nvSpPr>
        <p:spPr>
          <a:xfrm>
            <a:off x="0" y="1"/>
            <a:ext cx="1549831" cy="685800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Freeform: Shape 13">
            <a:extLst>
              <a:ext uri="{FF2B5EF4-FFF2-40B4-BE49-F238E27FC236}">
                <a16:creationId xmlns:a16="http://schemas.microsoft.com/office/drawing/2014/main" id="{297D35C0-DF69-AE24-8083-94C4A544ECF0}"/>
              </a:ext>
            </a:extLst>
          </p:cNvPr>
          <p:cNvSpPr/>
          <p:nvPr userDrawn="1"/>
        </p:nvSpPr>
        <p:spPr>
          <a:xfrm>
            <a:off x="1497756" y="2541"/>
            <a:ext cx="6055086" cy="6855459"/>
          </a:xfrm>
          <a:custGeom>
            <a:avLst/>
            <a:gdLst>
              <a:gd name="connsiteX0" fmla="*/ 0 w 6055086"/>
              <a:gd name="connsiteY0" fmla="*/ 0 h 6858000"/>
              <a:gd name="connsiteX1" fmla="*/ 2626086 w 6055086"/>
              <a:gd name="connsiteY1" fmla="*/ 0 h 6858000"/>
              <a:gd name="connsiteX2" fmla="*/ 6055086 w 6055086"/>
              <a:gd name="connsiteY2" fmla="*/ 3429000 h 6858000"/>
              <a:gd name="connsiteX3" fmla="*/ 2626086 w 6055086"/>
              <a:gd name="connsiteY3" fmla="*/ 6858000 h 6858000"/>
              <a:gd name="connsiteX4" fmla="*/ 0 w 605508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55086" h="6858000">
                <a:moveTo>
                  <a:pt x="0" y="0"/>
                </a:moveTo>
                <a:lnTo>
                  <a:pt x="2626086" y="0"/>
                </a:lnTo>
                <a:lnTo>
                  <a:pt x="6055086" y="3429000"/>
                </a:lnTo>
                <a:lnTo>
                  <a:pt x="262608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D55B11-6C50-8A86-2B8C-26847A5FF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255612-95C8-7D48-6058-D92907752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20AC8-9871-4AEB-A36A-D6BEF7DDDDB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5EED61D-370B-4046-E488-D1AD4F6FD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432" y="944975"/>
            <a:ext cx="5390922" cy="597222"/>
          </a:xfrm>
        </p:spPr>
        <p:txBody>
          <a:bodyPr anchor="t" anchorCtr="0"/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/>
              <a:t>Current situation</a:t>
            </a:r>
          </a:p>
        </p:txBody>
      </p:sp>
      <p:sp>
        <p:nvSpPr>
          <p:cNvPr id="12" name="Tijdelijke aanduiding voor tekst 5">
            <a:extLst>
              <a:ext uri="{FF2B5EF4-FFF2-40B4-BE49-F238E27FC236}">
                <a16:creationId xmlns:a16="http://schemas.microsoft.com/office/drawing/2014/main" id="{005C824D-45CE-5A61-358C-DD4827276B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nl-NL"/>
              <a:t>The plan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6731B1A-1DD5-E55A-2C01-273547CD35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8" y="1542197"/>
            <a:ext cx="5435411" cy="462365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860BE24-18BA-3DC3-5605-26BE6FB5B0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923FEE5-81BE-B62A-2FB2-DC76D67E11DF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106239" y="1555112"/>
            <a:ext cx="5546482" cy="462365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5" name="Tijdelijke aanduiding voor tekst 24">
            <a:extLst>
              <a:ext uri="{FF2B5EF4-FFF2-40B4-BE49-F238E27FC236}">
                <a16:creationId xmlns:a16="http://schemas.microsoft.com/office/drawing/2014/main" id="{B9E4BF37-8CF5-1A23-26C7-CD4A7064014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07113" y="929899"/>
            <a:ext cx="5578475" cy="651252"/>
          </a:xfrm>
        </p:spPr>
        <p:txBody>
          <a:bodyPr anchor="t" anchorCtr="0"/>
          <a:lstStyle>
            <a:lvl1pPr marL="0" indent="0">
              <a:buNone/>
              <a:defRPr sz="360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nl-NL" err="1"/>
              <a:t>Desired</a:t>
            </a:r>
            <a:r>
              <a:rPr lang="nl-NL"/>
              <a:t> </a:t>
            </a:r>
            <a:r>
              <a:rPr lang="nl-NL" err="1"/>
              <a:t>situation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3413638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rrent&gt;Desired situation - Red">
    <p:bg>
      <p:bgPr>
        <a:gradFill>
          <a:gsLst>
            <a:gs pos="100000">
              <a:schemeClr val="accent3"/>
            </a:gs>
            <a:gs pos="0">
              <a:schemeClr val="accent2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hoek 13">
            <a:extLst>
              <a:ext uri="{FF2B5EF4-FFF2-40B4-BE49-F238E27FC236}">
                <a16:creationId xmlns:a16="http://schemas.microsoft.com/office/drawing/2014/main" id="{736092AF-FC91-0E83-1C7C-124A4D77D913}"/>
              </a:ext>
            </a:extLst>
          </p:cNvPr>
          <p:cNvSpPr/>
          <p:nvPr userDrawn="1"/>
        </p:nvSpPr>
        <p:spPr>
          <a:xfrm>
            <a:off x="0" y="1"/>
            <a:ext cx="15498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Freeform: Shape 13">
            <a:extLst>
              <a:ext uri="{FF2B5EF4-FFF2-40B4-BE49-F238E27FC236}">
                <a16:creationId xmlns:a16="http://schemas.microsoft.com/office/drawing/2014/main" id="{297D35C0-DF69-AE24-8083-94C4A544ECF0}"/>
              </a:ext>
            </a:extLst>
          </p:cNvPr>
          <p:cNvSpPr/>
          <p:nvPr userDrawn="1"/>
        </p:nvSpPr>
        <p:spPr>
          <a:xfrm>
            <a:off x="1497756" y="2541"/>
            <a:ext cx="6055086" cy="6855459"/>
          </a:xfrm>
          <a:custGeom>
            <a:avLst/>
            <a:gdLst>
              <a:gd name="connsiteX0" fmla="*/ 0 w 6055086"/>
              <a:gd name="connsiteY0" fmla="*/ 0 h 6858000"/>
              <a:gd name="connsiteX1" fmla="*/ 2626086 w 6055086"/>
              <a:gd name="connsiteY1" fmla="*/ 0 h 6858000"/>
              <a:gd name="connsiteX2" fmla="*/ 6055086 w 6055086"/>
              <a:gd name="connsiteY2" fmla="*/ 3429000 h 6858000"/>
              <a:gd name="connsiteX3" fmla="*/ 2626086 w 6055086"/>
              <a:gd name="connsiteY3" fmla="*/ 6858000 h 6858000"/>
              <a:gd name="connsiteX4" fmla="*/ 0 w 605508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55086" h="6858000">
                <a:moveTo>
                  <a:pt x="0" y="0"/>
                </a:moveTo>
                <a:lnTo>
                  <a:pt x="2626086" y="0"/>
                </a:lnTo>
                <a:lnTo>
                  <a:pt x="6055086" y="3429000"/>
                </a:lnTo>
                <a:lnTo>
                  <a:pt x="2626086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D55B11-6C50-8A86-2B8C-26847A5FF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255612-95C8-7D48-6058-D92907752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5EED61D-370B-4046-E488-D1AD4F6FD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432" y="944975"/>
            <a:ext cx="5390922" cy="597222"/>
          </a:xfrm>
        </p:spPr>
        <p:txBody>
          <a:bodyPr/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en-US"/>
              <a:t>Current situation</a:t>
            </a:r>
          </a:p>
        </p:txBody>
      </p:sp>
      <p:sp>
        <p:nvSpPr>
          <p:cNvPr id="12" name="Tijdelijke aanduiding voor tekst 5">
            <a:extLst>
              <a:ext uri="{FF2B5EF4-FFF2-40B4-BE49-F238E27FC236}">
                <a16:creationId xmlns:a16="http://schemas.microsoft.com/office/drawing/2014/main" id="{005C824D-45CE-5A61-358C-DD4827276B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/>
              <a:t>The plan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6731B1A-1DD5-E55A-2C01-273547CD35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8" y="1542197"/>
            <a:ext cx="5435411" cy="462365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923FEE5-81BE-B62A-2FB2-DC76D67E11DF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106239" y="1555112"/>
            <a:ext cx="5546482" cy="462365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7DD8A81-76BF-55E9-DA1F-7D6E3B1DC5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  <p:sp>
        <p:nvSpPr>
          <p:cNvPr id="3" name="Tijdelijke aanduiding voor tekst 24">
            <a:extLst>
              <a:ext uri="{FF2B5EF4-FFF2-40B4-BE49-F238E27FC236}">
                <a16:creationId xmlns:a16="http://schemas.microsoft.com/office/drawing/2014/main" id="{D7A8C346-2EB7-A878-6777-A854733BB5A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07113" y="914401"/>
            <a:ext cx="5578475" cy="666750"/>
          </a:xfrm>
        </p:spPr>
        <p:txBody>
          <a:bodyPr anchor="t" anchorCtr="0"/>
          <a:lstStyle>
            <a:lvl1pPr marL="0" indent="0">
              <a:buNone/>
              <a:defRPr sz="36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nl-NL" err="1"/>
              <a:t>Desired</a:t>
            </a:r>
            <a:r>
              <a:rPr lang="nl-NL"/>
              <a:t> </a:t>
            </a:r>
            <a:r>
              <a:rPr lang="nl-NL" err="1"/>
              <a:t>situation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389750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topic 2">
    <p:bg>
      <p:bgPr>
        <a:gradFill>
          <a:gsLst>
            <a:gs pos="49000">
              <a:srgbClr val="E53625"/>
            </a:gs>
            <a:gs pos="79170">
              <a:srgbClr val="F36E2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DF11862-76B8-3837-158E-7C4E37DAE92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1"/>
            <a:ext cx="6096000" cy="6855459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1D2D319F-AF32-0603-3FB4-3F34B226B35E}"/>
              </a:ext>
            </a:extLst>
          </p:cNvPr>
          <p:cNvSpPr/>
          <p:nvPr userDrawn="1"/>
        </p:nvSpPr>
        <p:spPr>
          <a:xfrm>
            <a:off x="40915" y="2540"/>
            <a:ext cx="6055086" cy="6855459"/>
          </a:xfrm>
          <a:custGeom>
            <a:avLst/>
            <a:gdLst>
              <a:gd name="connsiteX0" fmla="*/ 0 w 6055086"/>
              <a:gd name="connsiteY0" fmla="*/ 0 h 6858000"/>
              <a:gd name="connsiteX1" fmla="*/ 2626086 w 6055086"/>
              <a:gd name="connsiteY1" fmla="*/ 0 h 6858000"/>
              <a:gd name="connsiteX2" fmla="*/ 6055086 w 6055086"/>
              <a:gd name="connsiteY2" fmla="*/ 3429000 h 6858000"/>
              <a:gd name="connsiteX3" fmla="*/ 2626086 w 6055086"/>
              <a:gd name="connsiteY3" fmla="*/ 6858000 h 6858000"/>
              <a:gd name="connsiteX4" fmla="*/ 0 w 605508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55086" h="6858000">
                <a:moveTo>
                  <a:pt x="0" y="0"/>
                </a:moveTo>
                <a:lnTo>
                  <a:pt x="2626086" y="0"/>
                </a:lnTo>
                <a:lnTo>
                  <a:pt x="6055086" y="3429000"/>
                </a:lnTo>
                <a:lnTo>
                  <a:pt x="2626086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E53625"/>
              </a:gs>
              <a:gs pos="79170">
                <a:srgbClr val="F36E21"/>
              </a:gs>
            </a:gsLst>
            <a:lin ang="0" scaled="0"/>
          </a:gra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824FBDE-BEB3-0F3F-10D5-5B9009B83E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9" y="2076653"/>
            <a:ext cx="5580062" cy="1352347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025B4C57-E50D-F33F-0230-3992467CCD1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8893" y="3964506"/>
            <a:ext cx="5567108" cy="323165"/>
          </a:xfrm>
          <a:noFill/>
        </p:spPr>
        <p:txBody>
          <a:bodyPr wrap="square" lIns="0" tIns="0" rIns="0" bIns="0" rtlCol="0" anchor="b">
            <a:noAutofit/>
          </a:bodyPr>
          <a:lstStyle>
            <a:lvl1pPr marL="0" indent="0">
              <a:spcBef>
                <a:spcPts val="0"/>
              </a:spcBef>
              <a:buNone/>
              <a:defRPr lang="en-US" sz="1600" smtClean="0">
                <a:solidFill>
                  <a:schemeClr val="bg1"/>
                </a:solidFill>
                <a:latin typeface="+mn-lt"/>
              </a:defRPr>
            </a:lvl1pPr>
            <a:lvl2pPr>
              <a:defRPr lang="en-US" smtClean="0"/>
            </a:lvl2pPr>
            <a:lvl3pPr>
              <a:defRPr lang="en-US" sz="1800" smtClean="0"/>
            </a:lvl3pPr>
            <a:lvl4pPr>
              <a:defRPr lang="en-US" sz="1800" smtClean="0"/>
            </a:lvl4pPr>
            <a:lvl5pPr>
              <a:defRPr lang="en-US" sz="1800"/>
            </a:lvl5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9A007B63-D03C-138F-32A4-DE7B276221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3465472"/>
            <a:ext cx="5567108" cy="507216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 algn="l">
              <a:buNone/>
              <a:defRPr>
                <a:solidFill>
                  <a:schemeClr val="bg1"/>
                </a:solidFill>
              </a:defRPr>
            </a:lvl2pPr>
            <a:lvl3pPr marL="914400" indent="0" algn="l">
              <a:buNone/>
              <a:defRPr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bg1"/>
                </a:solidFill>
              </a:defRPr>
            </a:lvl4pPr>
            <a:lvl5pPr marL="1828800" indent="0" algn="l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ijdelijke aanduiding voor tekst 5">
            <a:extLst>
              <a:ext uri="{FF2B5EF4-FFF2-40B4-BE49-F238E27FC236}">
                <a16:creationId xmlns:a16="http://schemas.microsoft.com/office/drawing/2014/main" id="{48A61C6C-5AE6-6CD7-5FF2-5B9D71433A3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2926" y="1376363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A7B72952-7F0F-A58B-3560-D464A4A396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938" y="0"/>
            <a:ext cx="1591688" cy="80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86482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ke strategy wo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D55B11-6C50-8A86-2B8C-26847A5FF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356350"/>
            <a:ext cx="7637462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255612-95C8-7D48-6058-D92907752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20AC8-9871-4AEB-A36A-D6BEF7DDDDB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5EED61D-370B-4046-E488-D1AD4F6FDB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431" y="944975"/>
            <a:ext cx="8446294" cy="620354"/>
          </a:xfrm>
        </p:spPr>
        <p:txBody>
          <a:bodyPr/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2" name="Tijdelijke aanduiding voor tekst 5">
            <a:extLst>
              <a:ext uri="{FF2B5EF4-FFF2-40B4-BE49-F238E27FC236}">
                <a16:creationId xmlns:a16="http://schemas.microsoft.com/office/drawing/2014/main" id="{005C824D-45CE-5A61-358C-DD4827276B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9431" y="530478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860BE24-18BA-3DC3-5605-26BE6FB5B0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972801" y="-4982"/>
            <a:ext cx="1188024" cy="594012"/>
          </a:xfrm>
          <a:prstGeom prst="rect">
            <a:avLst/>
          </a:prstGeom>
        </p:spPr>
      </p:pic>
      <p:sp>
        <p:nvSpPr>
          <p:cNvPr id="2" name="Rechthoek 1">
            <a:extLst>
              <a:ext uri="{FF2B5EF4-FFF2-40B4-BE49-F238E27FC236}">
                <a16:creationId xmlns:a16="http://schemas.microsoft.com/office/drawing/2014/main" id="{B5FF470D-3667-0095-0687-932E16012CE7}"/>
              </a:ext>
            </a:extLst>
          </p:cNvPr>
          <p:cNvSpPr/>
          <p:nvPr userDrawn="1"/>
        </p:nvSpPr>
        <p:spPr>
          <a:xfrm>
            <a:off x="8728362" y="1638000"/>
            <a:ext cx="3060000" cy="5220000"/>
          </a:xfrm>
          <a:prstGeom prst="rect">
            <a:avLst/>
          </a:prstGeom>
          <a:noFill/>
          <a:ln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8FAFD7A4-A002-62A9-DD70-C337D7EAAEAC}"/>
              </a:ext>
            </a:extLst>
          </p:cNvPr>
          <p:cNvSpPr txBox="1">
            <a:spLocks/>
          </p:cNvSpPr>
          <p:nvPr userDrawn="1"/>
        </p:nvSpPr>
        <p:spPr>
          <a:xfrm>
            <a:off x="893286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4999971-BAAB-8E4A-4BE5-C8FEC132330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400000">
            <a:off x="3403205" y="5383341"/>
            <a:ext cx="1485062" cy="1485062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FCAADB21-BEFD-1595-EFB8-F556A8E9DA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400000">
            <a:off x="6467415" y="5399135"/>
            <a:ext cx="1469268" cy="1469268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9D79B041-BF9B-0A4D-6086-0AAACD74ABB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2700000">
            <a:off x="9230810" y="5117282"/>
            <a:ext cx="2055104" cy="2055104"/>
          </a:xfrm>
          <a:prstGeom prst="rect">
            <a:avLst/>
          </a:prstGeom>
        </p:spPr>
      </p:pic>
      <p:sp>
        <p:nvSpPr>
          <p:cNvPr id="14" name="TextBox 73">
            <a:extLst>
              <a:ext uri="{FF2B5EF4-FFF2-40B4-BE49-F238E27FC236}">
                <a16:creationId xmlns:a16="http://schemas.microsoft.com/office/drawing/2014/main" id="{432B24F9-FB1A-D354-00D6-DABF326D2674}"/>
              </a:ext>
            </a:extLst>
          </p:cNvPr>
          <p:cNvSpPr txBox="1"/>
          <p:nvPr userDrawn="1"/>
        </p:nvSpPr>
        <p:spPr>
          <a:xfrm>
            <a:off x="2960183" y="6157665"/>
            <a:ext cx="2371107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2000" b="1">
                <a:solidFill>
                  <a:schemeClr val="bg1"/>
                </a:solidFill>
                <a:latin typeface="Kepler Std" panose="0204060306070A060204" pitchFamily="18" charset="77"/>
              </a:rPr>
              <a:t>Content</a:t>
            </a:r>
          </a:p>
          <a:p>
            <a:pPr algn="ctr"/>
            <a:r>
              <a:rPr lang="en-GB" sz="2000">
                <a:solidFill>
                  <a:schemeClr val="bg1"/>
                </a:solidFill>
                <a:latin typeface="Kepler Std" panose="0204060306070A060204" pitchFamily="18" charset="77"/>
              </a:rPr>
              <a:t>It’s right</a:t>
            </a:r>
            <a:endParaRPr lang="en-US" sz="2000">
              <a:solidFill>
                <a:schemeClr val="bg1"/>
              </a:solidFill>
              <a:latin typeface="Kepler Std" panose="0204060306070A060204" pitchFamily="18" charset="77"/>
            </a:endParaRPr>
          </a:p>
        </p:txBody>
      </p:sp>
      <p:sp>
        <p:nvSpPr>
          <p:cNvPr id="15" name="TextBox 73">
            <a:extLst>
              <a:ext uri="{FF2B5EF4-FFF2-40B4-BE49-F238E27FC236}">
                <a16:creationId xmlns:a16="http://schemas.microsoft.com/office/drawing/2014/main" id="{38ECB7E4-63B2-16AD-6075-434A60E66517}"/>
              </a:ext>
            </a:extLst>
          </p:cNvPr>
          <p:cNvSpPr txBox="1"/>
          <p:nvPr userDrawn="1"/>
        </p:nvSpPr>
        <p:spPr>
          <a:xfrm>
            <a:off x="6169623" y="6096110"/>
            <a:ext cx="2064853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2000" b="1">
                <a:solidFill>
                  <a:schemeClr val="bg1"/>
                </a:solidFill>
                <a:latin typeface="Kepler Std" panose="0204060306070A060204" pitchFamily="18" charset="77"/>
              </a:rPr>
              <a:t>Process</a:t>
            </a:r>
          </a:p>
          <a:p>
            <a:pPr algn="ctr"/>
            <a:r>
              <a:rPr lang="en-GB" sz="2000">
                <a:solidFill>
                  <a:schemeClr val="bg1"/>
                </a:solidFill>
                <a:latin typeface="Kepler Std" panose="0204060306070A060204" pitchFamily="18" charset="77"/>
              </a:rPr>
              <a:t>It works</a:t>
            </a:r>
            <a:endParaRPr lang="en-US" sz="2000">
              <a:solidFill>
                <a:schemeClr val="bg1"/>
              </a:solidFill>
              <a:latin typeface="Kepler Std" panose="0204060306070A060204" pitchFamily="18" charset="77"/>
            </a:endParaRPr>
          </a:p>
        </p:txBody>
      </p:sp>
      <p:sp>
        <p:nvSpPr>
          <p:cNvPr id="16" name="TextBox 75">
            <a:extLst>
              <a:ext uri="{FF2B5EF4-FFF2-40B4-BE49-F238E27FC236}">
                <a16:creationId xmlns:a16="http://schemas.microsoft.com/office/drawing/2014/main" id="{36D73E88-687E-FA93-02C8-8B935AFF7CA6}"/>
              </a:ext>
            </a:extLst>
          </p:cNvPr>
          <p:cNvSpPr txBox="1"/>
          <p:nvPr userDrawn="1"/>
        </p:nvSpPr>
        <p:spPr>
          <a:xfrm>
            <a:off x="9187801" y="6096110"/>
            <a:ext cx="2141122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2000" b="1">
                <a:solidFill>
                  <a:schemeClr val="bg1"/>
                </a:solidFill>
                <a:latin typeface="Kepler Std" panose="0204060306070A060204" pitchFamily="18" charset="77"/>
              </a:rPr>
              <a:t>People</a:t>
            </a:r>
          </a:p>
          <a:p>
            <a:pPr algn="ctr"/>
            <a:r>
              <a:rPr lang="en-GB" sz="2000">
                <a:solidFill>
                  <a:schemeClr val="bg1"/>
                </a:solidFill>
                <a:latin typeface="Kepler Std" panose="0204060306070A060204" pitchFamily="18" charset="77"/>
              </a:rPr>
              <a:t>It lands</a:t>
            </a:r>
            <a:endParaRPr lang="en-US" sz="2000">
              <a:solidFill>
                <a:schemeClr val="bg1"/>
              </a:solidFill>
              <a:latin typeface="Kepler Std" panose="0204060306070A060204" pitchFamily="18" charset="77"/>
            </a:endParaRPr>
          </a:p>
        </p:txBody>
      </p:sp>
      <p:sp>
        <p:nvSpPr>
          <p:cNvPr id="19" name="Rechthoek 18">
            <a:extLst>
              <a:ext uri="{FF2B5EF4-FFF2-40B4-BE49-F238E27FC236}">
                <a16:creationId xmlns:a16="http://schemas.microsoft.com/office/drawing/2014/main" id="{FA1BAD81-7285-7D40-733B-CED54A00F305}"/>
              </a:ext>
            </a:extLst>
          </p:cNvPr>
          <p:cNvSpPr/>
          <p:nvPr userDrawn="1"/>
        </p:nvSpPr>
        <p:spPr>
          <a:xfrm>
            <a:off x="5672049" y="1638000"/>
            <a:ext cx="3060000" cy="5220000"/>
          </a:xfrm>
          <a:prstGeom prst="rect">
            <a:avLst/>
          </a:prstGeom>
          <a:noFill/>
          <a:ln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B7838D35-14CE-BBDB-9838-DC3B36D37667}"/>
              </a:ext>
            </a:extLst>
          </p:cNvPr>
          <p:cNvSpPr/>
          <p:nvPr userDrawn="1"/>
        </p:nvSpPr>
        <p:spPr>
          <a:xfrm>
            <a:off x="2615736" y="1638000"/>
            <a:ext cx="3060000" cy="5220000"/>
          </a:xfrm>
          <a:prstGeom prst="rect">
            <a:avLst/>
          </a:prstGeom>
          <a:noFill/>
          <a:ln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Tijdelijke aanduiding voor tekst 25">
            <a:extLst>
              <a:ext uri="{FF2B5EF4-FFF2-40B4-BE49-F238E27FC236}">
                <a16:creationId xmlns:a16="http://schemas.microsoft.com/office/drawing/2014/main" id="{A9FAD05C-7535-1315-2455-1F71D277478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551" y="1642982"/>
            <a:ext cx="2030413" cy="1069975"/>
          </a:xfrm>
        </p:spPr>
        <p:txBody>
          <a:bodyPr/>
          <a:lstStyle>
            <a:lvl1pPr marL="0" indent="0">
              <a:buNone/>
              <a:defRPr sz="2000"/>
            </a:lvl1pPr>
          </a:lstStyle>
          <a:p>
            <a:r>
              <a:rPr lang="nl-NL" sz="1800"/>
              <a:t>It’s </a:t>
            </a:r>
            <a:r>
              <a:rPr lang="nl-NL" sz="1800" err="1"/>
              <a:t>now</a:t>
            </a:r>
            <a:r>
              <a:rPr lang="nl-NL" sz="1800"/>
              <a:t> </a:t>
            </a:r>
            <a:r>
              <a:rPr lang="nl-NL" sz="1800" i="1">
                <a:solidFill>
                  <a:schemeClr val="bg2">
                    <a:lumMod val="75000"/>
                  </a:schemeClr>
                </a:solidFill>
              </a:rPr>
              <a:t>&lt; x time &gt; </a:t>
            </a:r>
            <a:r>
              <a:rPr lang="nl-NL" sz="1800"/>
              <a:t>later. </a:t>
            </a:r>
            <a:r>
              <a:rPr lang="nl-NL" sz="1800" err="1"/>
              <a:t>This</a:t>
            </a:r>
            <a:r>
              <a:rPr lang="nl-NL" sz="1800"/>
              <a:t> is </a:t>
            </a:r>
            <a:r>
              <a:rPr lang="nl-NL" sz="1800" err="1"/>
              <a:t>what</a:t>
            </a:r>
            <a:r>
              <a:rPr lang="nl-NL" sz="1800"/>
              <a:t> </a:t>
            </a:r>
            <a:r>
              <a:rPr lang="nl-NL" sz="1800" i="1">
                <a:solidFill>
                  <a:schemeClr val="bg2">
                    <a:lumMod val="75000"/>
                  </a:schemeClr>
                </a:solidFill>
              </a:rPr>
              <a:t>&lt; client &gt;</a:t>
            </a:r>
            <a:r>
              <a:rPr lang="nl-NL" sz="1800"/>
              <a:t> </a:t>
            </a:r>
            <a:r>
              <a:rPr lang="nl-NL" sz="1800" err="1"/>
              <a:t>says</a:t>
            </a:r>
            <a:r>
              <a:rPr lang="nl-NL" sz="1800"/>
              <a:t>:</a:t>
            </a:r>
          </a:p>
        </p:txBody>
      </p:sp>
      <p:sp>
        <p:nvSpPr>
          <p:cNvPr id="27" name="Tijdelijke aanduiding voor tekst 25">
            <a:extLst>
              <a:ext uri="{FF2B5EF4-FFF2-40B4-BE49-F238E27FC236}">
                <a16:creationId xmlns:a16="http://schemas.microsoft.com/office/drawing/2014/main" id="{79A8DBC0-BCD2-6B3A-3E38-ECA99AF6FEB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4466" y="2756276"/>
            <a:ext cx="2030413" cy="1069975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r>
              <a:rPr lang="nl-NL">
                <a:solidFill>
                  <a:schemeClr val="bg2">
                    <a:lumMod val="75000"/>
                  </a:schemeClr>
                </a:solidFill>
              </a:rPr>
              <a:t>&lt; </a:t>
            </a:r>
            <a:r>
              <a:rPr lang="nl-NL" err="1">
                <a:solidFill>
                  <a:schemeClr val="bg2">
                    <a:lumMod val="75000"/>
                  </a:schemeClr>
                </a:solidFill>
              </a:rPr>
              <a:t>formulate</a:t>
            </a:r>
            <a:r>
              <a:rPr lang="nl-NL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nl-NL" err="1">
                <a:solidFill>
                  <a:schemeClr val="bg2">
                    <a:lumMod val="75000"/>
                  </a:schemeClr>
                </a:solidFill>
              </a:rPr>
              <a:t>an</a:t>
            </a:r>
            <a:r>
              <a:rPr lang="nl-NL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nl-NL" err="1">
                <a:solidFill>
                  <a:schemeClr val="bg2">
                    <a:lumMod val="75000"/>
                  </a:schemeClr>
                </a:solidFill>
              </a:rPr>
              <a:t>appropriate</a:t>
            </a:r>
            <a:r>
              <a:rPr lang="nl-NL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nl-NL" err="1">
                <a:solidFill>
                  <a:schemeClr val="bg2">
                    <a:lumMod val="75000"/>
                  </a:schemeClr>
                </a:solidFill>
              </a:rPr>
              <a:t>futuring</a:t>
            </a:r>
            <a:r>
              <a:rPr lang="nl-NL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nl-NL" err="1">
                <a:solidFill>
                  <a:schemeClr val="bg2">
                    <a:lumMod val="75000"/>
                  </a:schemeClr>
                </a:solidFill>
              </a:rPr>
              <a:t>here</a:t>
            </a:r>
            <a:r>
              <a:rPr lang="nl-NL">
                <a:solidFill>
                  <a:schemeClr val="bg2">
                    <a:lumMod val="75000"/>
                  </a:schemeClr>
                </a:solidFill>
              </a:rPr>
              <a:t> &gt;</a:t>
            </a:r>
          </a:p>
        </p:txBody>
      </p:sp>
      <p:sp>
        <p:nvSpPr>
          <p:cNvPr id="28" name="Tijdelijke aanduiding voor tekst 25">
            <a:extLst>
              <a:ext uri="{FF2B5EF4-FFF2-40B4-BE49-F238E27FC236}">
                <a16:creationId xmlns:a16="http://schemas.microsoft.com/office/drawing/2014/main" id="{E394BD62-FE47-3145-E66C-59A0AB29214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56222" y="1795382"/>
            <a:ext cx="2745676" cy="937485"/>
          </a:xfrm>
        </p:spPr>
        <p:txBody>
          <a:bodyPr/>
          <a:lstStyle>
            <a:lvl1pPr marL="0" indent="0">
              <a:buNone/>
              <a:defRPr sz="1600" b="0"/>
            </a:lvl1pPr>
          </a:lstStyle>
          <a:p>
            <a:pPr defTabSz="1145401">
              <a:spcBef>
                <a:spcPts val="383"/>
              </a:spcBef>
              <a:defRPr/>
            </a:pPr>
            <a:r>
              <a:rPr lang="nl-NL" sz="1800" b="1">
                <a:latin typeface="FreightSans Pro Semibold" panose="02000606030000020004" pitchFamily="2" charset="0"/>
              </a:rPr>
              <a:t>Content-</a:t>
            </a:r>
            <a:r>
              <a:rPr lang="nl-NL" sz="1800" b="1" err="1">
                <a:latin typeface="FreightSans Pro Semibold" panose="02000606030000020004" pitchFamily="2" charset="0"/>
              </a:rPr>
              <a:t>wise</a:t>
            </a:r>
            <a:r>
              <a:rPr lang="nl-NL" sz="1800" b="1">
                <a:latin typeface="FreightSans Pro Semibold" panose="02000606030000020004" pitchFamily="2" charset="0"/>
              </a:rPr>
              <a:t> these are </a:t>
            </a:r>
            <a:r>
              <a:rPr lang="nl-NL" sz="1800" b="1" err="1">
                <a:latin typeface="FreightSans Pro Semibold" panose="02000606030000020004" pitchFamily="2" charset="0"/>
              </a:rPr>
              <a:t>the</a:t>
            </a:r>
            <a:r>
              <a:rPr lang="nl-NL" sz="1800" b="1">
                <a:latin typeface="FreightSans Pro Semibold" panose="02000606030000020004" pitchFamily="2" charset="0"/>
              </a:rPr>
              <a:t> </a:t>
            </a:r>
            <a:r>
              <a:rPr lang="nl-NL" sz="1800" b="1" err="1">
                <a:latin typeface="FreightSans Pro Semibold" panose="02000606030000020004" pitchFamily="2" charset="0"/>
              </a:rPr>
              <a:t>crucial</a:t>
            </a:r>
            <a:r>
              <a:rPr lang="nl-NL" sz="1800" b="1">
                <a:latin typeface="FreightSans Pro Semibold" panose="02000606030000020004" pitchFamily="2" charset="0"/>
              </a:rPr>
              <a:t> </a:t>
            </a:r>
            <a:r>
              <a:rPr lang="nl-NL" sz="1800" b="1" err="1">
                <a:latin typeface="FreightSans Pro Semibold" panose="02000606030000020004" pitchFamily="2" charset="0"/>
              </a:rPr>
              <a:t>aspects</a:t>
            </a:r>
            <a:r>
              <a:rPr lang="nl-NL" sz="1800" b="1">
                <a:latin typeface="FreightSans Pro Semibold" panose="02000606030000020004" pitchFamily="2" charset="0"/>
              </a:rPr>
              <a:t> </a:t>
            </a:r>
            <a:r>
              <a:rPr lang="nl-NL" sz="1800" b="1" err="1">
                <a:latin typeface="FreightSans Pro Semibold" panose="02000606030000020004" pitchFamily="2" charset="0"/>
              </a:rPr>
              <a:t>to</a:t>
            </a:r>
            <a:r>
              <a:rPr lang="nl-NL" sz="1800" b="1">
                <a:latin typeface="FreightSans Pro Semibold" panose="02000606030000020004" pitchFamily="2" charset="0"/>
              </a:rPr>
              <a:t> make </a:t>
            </a:r>
            <a:r>
              <a:rPr lang="nl-NL" sz="1800" b="1" err="1">
                <a:latin typeface="FreightSans Pro Semibold" panose="02000606030000020004" pitchFamily="2" charset="0"/>
              </a:rPr>
              <a:t>the</a:t>
            </a:r>
            <a:r>
              <a:rPr lang="nl-NL" sz="1800" b="1">
                <a:latin typeface="FreightSans Pro Semibold" panose="02000606030000020004" pitchFamily="2" charset="0"/>
              </a:rPr>
              <a:t> </a:t>
            </a:r>
            <a:r>
              <a:rPr lang="nl-NL" sz="1800" b="1" err="1">
                <a:latin typeface="FreightSans Pro Semibold" panose="02000606030000020004" pitchFamily="2" charset="0"/>
              </a:rPr>
              <a:t>difference</a:t>
            </a:r>
            <a:r>
              <a:rPr lang="nl-NL" sz="1800" b="1">
                <a:latin typeface="FreightSans Pro Semibold" panose="02000606030000020004" pitchFamily="2" charset="0"/>
              </a:rPr>
              <a:t>:</a:t>
            </a:r>
          </a:p>
        </p:txBody>
      </p:sp>
      <p:sp>
        <p:nvSpPr>
          <p:cNvPr id="29" name="Tijdelijke aanduiding voor tekst 25">
            <a:extLst>
              <a:ext uri="{FF2B5EF4-FFF2-40B4-BE49-F238E27FC236}">
                <a16:creationId xmlns:a16="http://schemas.microsoft.com/office/drawing/2014/main" id="{F089E623-52B7-1C1A-7A33-47FB2DE4F13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756222" y="2802775"/>
            <a:ext cx="2745676" cy="1069975"/>
          </a:xfrm>
        </p:spPr>
        <p:txBody>
          <a:bodyPr/>
          <a:lstStyle>
            <a:lvl1pPr marL="0" indent="0">
              <a:buNone/>
              <a:defRPr sz="1600">
                <a:latin typeface="+mn-lt"/>
              </a:defRPr>
            </a:lvl1pPr>
          </a:lstStyle>
          <a:p>
            <a:pPr marL="260565" indent="-260565" defTabSz="1145401">
              <a:spcBef>
                <a:spcPts val="383"/>
              </a:spcBef>
              <a:buFont typeface="+mj-lt"/>
              <a:buAutoNum type="arabicPeriod"/>
              <a:defRPr/>
            </a:pP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HelveticaNowDisplay Regular" panose="020B0504030202020204" pitchFamily="34" charset="0"/>
              </a:rPr>
              <a:t>We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HelveticaNowDisplay Regular" panose="020B0504030202020204" pitchFamily="34" charset="0"/>
              </a:rPr>
              <a:t>create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HelveticaNowDisplay Regular" panose="020B0504030202020204" pitchFamily="34" charset="0"/>
              </a:rPr>
              <a:t>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HelveticaNowDisplay Regular" panose="020B0504030202020204" pitchFamily="34" charset="0"/>
              </a:rPr>
              <a:t>documents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HelveticaNowDisplay Regular" panose="020B0504030202020204" pitchFamily="34" charset="0"/>
              </a:rPr>
              <a:t> X, Y &amp;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HelveticaNowDisplay Regular" panose="020B0504030202020204" pitchFamily="34" charset="0"/>
              </a:rPr>
              <a:t>Z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HelveticaNowDisplay Regular" panose="020B0504030202020204" pitchFamily="34" charset="0"/>
              </a:rPr>
              <a:t> (check deliverables in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HelveticaNowDisplay Regular" panose="020B0504030202020204" pitchFamily="34" charset="0"/>
              </a:rPr>
              <a:t>proposal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HelveticaNowDisplay Regular" panose="020B0504030202020204" pitchFamily="34" charset="0"/>
              </a:rPr>
              <a:t>).</a:t>
            </a:r>
          </a:p>
          <a:p>
            <a:pPr marL="260565" indent="-260565" defTabSz="1145401">
              <a:spcBef>
                <a:spcPts val="383"/>
              </a:spcBef>
              <a:buFont typeface="+mj-lt"/>
              <a:buAutoNum type="arabicPeriod"/>
              <a:defRPr/>
            </a:pP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HelveticaNowDisplay Regular" panose="020B0504030202020204" pitchFamily="34" charset="0"/>
              </a:rPr>
              <a:t>We make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HelveticaNowDisplay Regular" panose="020B0504030202020204" pitchFamily="34" charset="0"/>
              </a:rPr>
              <a:t>decisions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HelveticaNowDisplay Regular" panose="020B0504030202020204" pitchFamily="34" charset="0"/>
              </a:rPr>
              <a:t>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HelveticaNowDisplay Regular" panose="020B0504030202020204" pitchFamily="34" charset="0"/>
              </a:rPr>
              <a:t>based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HelveticaNowDisplay Regular" panose="020B0504030202020204" pitchFamily="34" charset="0"/>
              </a:rPr>
              <a:t> on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HelveticaNowDisplay Regular" panose="020B0504030202020204" pitchFamily="34" charset="0"/>
              </a:rPr>
              <a:t>documents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HelveticaNowDisplay Regular" panose="020B0504030202020204" pitchFamily="34" charset="0"/>
              </a:rPr>
              <a:t> X, Y &amp; Z.</a:t>
            </a:r>
          </a:p>
          <a:p>
            <a:pPr marL="260565" indent="-260565" defTabSz="1145401">
              <a:spcBef>
                <a:spcPts val="383"/>
              </a:spcBef>
              <a:buFont typeface="+mj-lt"/>
              <a:buAutoNum type="arabicPeriod"/>
              <a:defRPr/>
            </a:pP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HelveticaNowDisplay Regular" panose="020B0504030202020204" pitchFamily="34" charset="0"/>
              </a:rPr>
              <a:t>We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HelveticaNowDisplay Regular" panose="020B0504030202020204" pitchFamily="34" charset="0"/>
              </a:rPr>
              <a:t>define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HelveticaNowDisplay Regular" panose="020B0504030202020204" pitchFamily="34" charset="0"/>
              </a:rPr>
              <a:t>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HelveticaNowDisplay Regular" panose="020B0504030202020204" pitchFamily="34" charset="0"/>
              </a:rPr>
              <a:t>clear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HelveticaNowDisplay Regular" panose="020B0504030202020204" pitchFamily="34" charset="0"/>
              </a:rPr>
              <a:t>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HelveticaNowDisplay Regular" panose="020B0504030202020204" pitchFamily="34" charset="0"/>
              </a:rPr>
              <a:t>KPI’s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HelveticaNowDisplay Regular" panose="020B0504030202020204" pitchFamily="34" charset="0"/>
              </a:rPr>
              <a:t> as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HelveticaNowDisplay Regular" panose="020B0504030202020204" pitchFamily="34" charset="0"/>
              </a:rPr>
              <a:t>an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HelveticaNowDisplay Regular" panose="020B0504030202020204" pitchFamily="34" charset="0"/>
              </a:rPr>
              <a:t> indicator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HelveticaNowDisplay Regular" panose="020B0504030202020204" pitchFamily="34" charset="0"/>
              </a:rPr>
              <a:t>for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HelveticaNowDisplay Regular" panose="020B0504030202020204" pitchFamily="34" charset="0"/>
              </a:rPr>
              <a:t>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HelveticaNowDisplay Regular" panose="020B0504030202020204" pitchFamily="34" charset="0"/>
              </a:rPr>
              <a:t>success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HelveticaNowDisplay Regular" panose="020B0504030202020204" pitchFamily="34" charset="0"/>
              </a:rPr>
              <a:t>.</a:t>
            </a:r>
          </a:p>
          <a:p>
            <a:pPr marL="260565" indent="-260565" defTabSz="1145401">
              <a:spcBef>
                <a:spcPts val="383"/>
              </a:spcBef>
              <a:buFont typeface="+mj-lt"/>
              <a:buAutoNum type="arabicPeriod"/>
              <a:defRPr/>
            </a:pP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HelveticaNowDisplay Regular" panose="020B0504030202020204" pitchFamily="34" charset="0"/>
              </a:rPr>
              <a:t>….</a:t>
            </a:r>
          </a:p>
          <a:p>
            <a:pPr marL="260565" indent="-260565" defTabSz="1145401">
              <a:spcBef>
                <a:spcPts val="383"/>
              </a:spcBef>
              <a:buFont typeface="+mj-lt"/>
              <a:buAutoNum type="arabicPeriod"/>
              <a:defRPr/>
            </a:pP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HelveticaNowDisplay Regular" panose="020B0504030202020204" pitchFamily="34" charset="0"/>
              </a:rPr>
              <a:t>….</a:t>
            </a:r>
          </a:p>
          <a:p>
            <a:endParaRPr lang="nl-NL" sz="1800"/>
          </a:p>
        </p:txBody>
      </p:sp>
      <p:sp>
        <p:nvSpPr>
          <p:cNvPr id="30" name="Tijdelijke aanduiding voor tekst 25">
            <a:extLst>
              <a:ext uri="{FF2B5EF4-FFF2-40B4-BE49-F238E27FC236}">
                <a16:creationId xmlns:a16="http://schemas.microsoft.com/office/drawing/2014/main" id="{BB6B4122-2B56-EBCF-3C2F-58D43D5A5C8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837801" y="1808298"/>
            <a:ext cx="2745676" cy="937485"/>
          </a:xfrm>
        </p:spPr>
        <p:txBody>
          <a:bodyPr/>
          <a:lstStyle>
            <a:lvl1pPr marL="0" indent="0">
              <a:buNone/>
              <a:defRPr sz="1600" b="0"/>
            </a:lvl1pPr>
          </a:lstStyle>
          <a:p>
            <a:pPr defTabSz="1145401">
              <a:spcBef>
                <a:spcPts val="383"/>
              </a:spcBef>
              <a:defRPr/>
            </a:pPr>
            <a:r>
              <a:rPr lang="en-US" sz="1800" b="1" kern="0">
                <a:solidFill>
                  <a:srgbClr val="1B1C33"/>
                </a:solidFill>
                <a:latin typeface="FreightSans Pro Semibold" panose="02000606030000020004" pitchFamily="2" charset="0"/>
                <a:cs typeface="Arial" pitchFamily="34" charset="0"/>
              </a:rPr>
              <a:t>This approach, process and </a:t>
            </a:r>
            <a:r>
              <a:rPr lang="en-US" sz="1800" b="1" kern="0" err="1">
                <a:solidFill>
                  <a:srgbClr val="1B1C33"/>
                </a:solidFill>
                <a:latin typeface="FreightSans Pro Semibold" panose="02000606030000020004" pitchFamily="2" charset="0"/>
                <a:cs typeface="Arial" pitchFamily="34" charset="0"/>
              </a:rPr>
              <a:t>organisational</a:t>
            </a:r>
            <a:r>
              <a:rPr lang="en-US" sz="1800" b="1" kern="0">
                <a:solidFill>
                  <a:srgbClr val="1B1C33"/>
                </a:solidFill>
                <a:latin typeface="FreightSans Pro Semibold" panose="02000606030000020004" pitchFamily="2" charset="0"/>
                <a:cs typeface="Arial" pitchFamily="34" charset="0"/>
              </a:rPr>
              <a:t> measures will be crucial:</a:t>
            </a:r>
          </a:p>
        </p:txBody>
      </p:sp>
      <p:sp>
        <p:nvSpPr>
          <p:cNvPr id="31" name="Tijdelijke aanduiding voor tekst 25">
            <a:extLst>
              <a:ext uri="{FF2B5EF4-FFF2-40B4-BE49-F238E27FC236}">
                <a16:creationId xmlns:a16="http://schemas.microsoft.com/office/drawing/2014/main" id="{8671ACAB-B82E-9F8A-86C3-C3AA76DFA6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837801" y="2815691"/>
            <a:ext cx="2745676" cy="1069975"/>
          </a:xfrm>
        </p:spPr>
        <p:txBody>
          <a:bodyPr/>
          <a:lstStyle>
            <a:lvl1pPr marL="0" indent="0">
              <a:buNone/>
              <a:defRPr sz="1600">
                <a:latin typeface="+mn-lt"/>
              </a:defRPr>
            </a:lvl1pPr>
          </a:lstStyle>
          <a:p>
            <a:pPr marL="260565" indent="-260565" defTabSz="1145401">
              <a:spcBef>
                <a:spcPts val="383"/>
              </a:spcBef>
              <a:buFont typeface="+mj-lt"/>
              <a:buAutoNum type="arabicPeriod"/>
              <a:defRPr/>
            </a:pP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We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work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 on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initiatives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based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 on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priorities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.</a:t>
            </a:r>
          </a:p>
          <a:p>
            <a:pPr marL="260565" indent="-260565" defTabSz="1145401">
              <a:spcBef>
                <a:spcPts val="383"/>
              </a:spcBef>
              <a:buFont typeface="+mj-lt"/>
              <a:buAutoNum type="arabicPeriod"/>
              <a:defRPr/>
            </a:pP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We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create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clear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roles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and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responsibilities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for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our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internal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 project team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and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the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 client.</a:t>
            </a:r>
          </a:p>
          <a:p>
            <a:pPr marL="260565" indent="-260565" defTabSz="1145401">
              <a:spcBef>
                <a:spcPts val="383"/>
              </a:spcBef>
              <a:buFont typeface="+mj-lt"/>
              <a:buAutoNum type="arabicPeriod"/>
              <a:defRPr/>
            </a:pP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We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inform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our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 clients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and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each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other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when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needed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, 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during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 pre-</a:t>
            </a:r>
            <a:r>
              <a:rPr lang="nl-NL" sz="1800" kern="0" err="1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scheduled</a:t>
            </a: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 meetings or ad hoc. </a:t>
            </a:r>
          </a:p>
          <a:p>
            <a:pPr marL="260565" indent="-260565" defTabSz="1145401">
              <a:spcBef>
                <a:spcPts val="383"/>
              </a:spcBef>
              <a:buFont typeface="+mj-lt"/>
              <a:buAutoNum type="arabicPeriod"/>
              <a:defRPr/>
            </a:pP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…</a:t>
            </a:r>
          </a:p>
          <a:p>
            <a:pPr marL="260565" indent="-260565" defTabSz="1145401">
              <a:spcBef>
                <a:spcPts val="383"/>
              </a:spcBef>
              <a:buFont typeface="+mj-lt"/>
              <a:buAutoNum type="arabicPeriod"/>
              <a:defRPr/>
            </a:pPr>
            <a:r>
              <a:rPr lang="nl-NL" sz="1800" kern="0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…</a:t>
            </a:r>
          </a:p>
        </p:txBody>
      </p:sp>
      <p:sp>
        <p:nvSpPr>
          <p:cNvPr id="32" name="Tijdelijke aanduiding voor tekst 25">
            <a:extLst>
              <a:ext uri="{FF2B5EF4-FFF2-40B4-BE49-F238E27FC236}">
                <a16:creationId xmlns:a16="http://schemas.microsoft.com/office/drawing/2014/main" id="{66CC9DA2-E061-C3FA-39F6-6971728E7AE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888384" y="1821213"/>
            <a:ext cx="2745676" cy="937485"/>
          </a:xfrm>
        </p:spPr>
        <p:txBody>
          <a:bodyPr/>
          <a:lstStyle>
            <a:lvl1pPr marL="0" indent="0">
              <a:buNone/>
              <a:defRPr sz="1600" b="0"/>
            </a:lvl1pPr>
          </a:lstStyle>
          <a:p>
            <a:pPr defTabSz="1145401">
              <a:spcBef>
                <a:spcPts val="383"/>
              </a:spcBef>
              <a:defRPr/>
            </a:pPr>
            <a:r>
              <a:rPr lang="nl-NL" sz="1800" b="1" kern="0">
                <a:solidFill>
                  <a:srgbClr val="1B1C33"/>
                </a:solidFill>
                <a:latin typeface="FreightSans Pro Semibold" panose="02000606030000020004" pitchFamily="2" charset="0"/>
                <a:cs typeface="Arial" pitchFamily="34" charset="0"/>
              </a:rPr>
              <a:t>These </a:t>
            </a:r>
            <a:r>
              <a:rPr lang="nl-NL" sz="1800" b="1" kern="0" err="1">
                <a:solidFill>
                  <a:srgbClr val="1B1C33"/>
                </a:solidFill>
                <a:latin typeface="FreightSans Pro Semibold" panose="02000606030000020004" pitchFamily="2" charset="0"/>
                <a:cs typeface="Arial" pitchFamily="34" charset="0"/>
              </a:rPr>
              <a:t>aspects</a:t>
            </a:r>
            <a:r>
              <a:rPr lang="nl-NL" sz="1800" b="1" kern="0">
                <a:solidFill>
                  <a:srgbClr val="1B1C33"/>
                </a:solidFill>
                <a:latin typeface="FreightSans Pro Semibold" panose="02000606030000020004" pitchFamily="2" charset="0"/>
                <a:cs typeface="Arial" pitchFamily="34" charset="0"/>
              </a:rPr>
              <a:t> </a:t>
            </a:r>
            <a:r>
              <a:rPr lang="nl-NL" sz="1800" b="1" kern="0" err="1">
                <a:solidFill>
                  <a:srgbClr val="1B1C33"/>
                </a:solidFill>
                <a:latin typeface="FreightSans Pro Semibold" panose="02000606030000020004" pitchFamily="2" charset="0"/>
                <a:cs typeface="Arial" pitchFamily="34" charset="0"/>
              </a:rPr>
              <a:t>will</a:t>
            </a:r>
            <a:r>
              <a:rPr lang="nl-NL" sz="1800" b="1" kern="0">
                <a:solidFill>
                  <a:srgbClr val="1B1C33"/>
                </a:solidFill>
                <a:latin typeface="FreightSans Pro Semibold" panose="02000606030000020004" pitchFamily="2" charset="0"/>
                <a:cs typeface="Arial" pitchFamily="34" charset="0"/>
              </a:rPr>
              <a:t> lead </a:t>
            </a:r>
            <a:r>
              <a:rPr lang="nl-NL" sz="1800" b="1" kern="0" err="1">
                <a:solidFill>
                  <a:srgbClr val="1B1C33"/>
                </a:solidFill>
                <a:latin typeface="FreightSans Pro Semibold" panose="02000606030000020004" pitchFamily="2" charset="0"/>
                <a:cs typeface="Arial" pitchFamily="34" charset="0"/>
              </a:rPr>
              <a:t>to</a:t>
            </a:r>
            <a:r>
              <a:rPr lang="nl-NL" sz="1800" b="1" kern="0">
                <a:solidFill>
                  <a:srgbClr val="1B1C33"/>
                </a:solidFill>
                <a:latin typeface="FreightSans Pro Semibold" panose="02000606030000020004" pitchFamily="2" charset="0"/>
                <a:cs typeface="Arial" pitchFamily="34" charset="0"/>
              </a:rPr>
              <a:t> adoption of </a:t>
            </a:r>
            <a:r>
              <a:rPr lang="nl-NL" sz="1800" b="1" kern="0" err="1">
                <a:solidFill>
                  <a:srgbClr val="1B1C33"/>
                </a:solidFill>
                <a:latin typeface="FreightSans Pro Semibold" panose="02000606030000020004" pitchFamily="2" charset="0"/>
                <a:cs typeface="Arial" pitchFamily="34" charset="0"/>
              </a:rPr>
              <a:t>our</a:t>
            </a:r>
            <a:r>
              <a:rPr lang="nl-NL" sz="1800" b="1" kern="0">
                <a:solidFill>
                  <a:srgbClr val="1B1C33"/>
                </a:solidFill>
                <a:latin typeface="FreightSans Pro Semibold" panose="02000606030000020004" pitchFamily="2" charset="0"/>
                <a:cs typeface="Arial" pitchFamily="34" charset="0"/>
              </a:rPr>
              <a:t> </a:t>
            </a:r>
            <a:r>
              <a:rPr lang="nl-NL" sz="1800" b="1" kern="0" err="1">
                <a:solidFill>
                  <a:srgbClr val="1B1C33"/>
                </a:solidFill>
                <a:latin typeface="FreightSans Pro Semibold" panose="02000606030000020004" pitchFamily="2" charset="0"/>
                <a:cs typeface="Arial" pitchFamily="34" charset="0"/>
              </a:rPr>
              <a:t>work</a:t>
            </a:r>
            <a:r>
              <a:rPr lang="nl-NL" sz="1800" b="1" kern="0">
                <a:solidFill>
                  <a:srgbClr val="1B1C33"/>
                </a:solidFill>
                <a:latin typeface="FreightSans Pro Semibold" panose="02000606030000020004" pitchFamily="2" charset="0"/>
                <a:cs typeface="Arial" pitchFamily="34" charset="0"/>
              </a:rPr>
              <a:t> </a:t>
            </a:r>
            <a:r>
              <a:rPr lang="nl-NL" sz="1800" b="1" kern="0" err="1">
                <a:solidFill>
                  <a:srgbClr val="1B1C33"/>
                </a:solidFill>
                <a:latin typeface="FreightSans Pro Semibold" panose="02000606030000020004" pitchFamily="2" charset="0"/>
                <a:cs typeface="Arial" pitchFamily="34" charset="0"/>
              </a:rPr>
              <a:t>and</a:t>
            </a:r>
            <a:r>
              <a:rPr lang="nl-NL" sz="1800" b="1" kern="0">
                <a:solidFill>
                  <a:srgbClr val="1B1C33"/>
                </a:solidFill>
                <a:latin typeface="FreightSans Pro Semibold" panose="02000606030000020004" pitchFamily="2" charset="0"/>
                <a:cs typeface="Arial" pitchFamily="34" charset="0"/>
              </a:rPr>
              <a:t> a </a:t>
            </a:r>
            <a:r>
              <a:rPr lang="nl-NL" sz="1800" b="1" kern="0" err="1">
                <a:solidFill>
                  <a:srgbClr val="1B1C33"/>
                </a:solidFill>
                <a:latin typeface="FreightSans Pro Semibold" panose="02000606030000020004" pitchFamily="2" charset="0"/>
                <a:cs typeface="Arial" pitchFamily="34" charset="0"/>
              </a:rPr>
              <a:t>great</a:t>
            </a:r>
            <a:r>
              <a:rPr lang="nl-NL" sz="1800" b="1" kern="0">
                <a:solidFill>
                  <a:srgbClr val="1B1C33"/>
                </a:solidFill>
                <a:latin typeface="FreightSans Pro Semibold" panose="02000606030000020004" pitchFamily="2" charset="0"/>
                <a:cs typeface="Arial" pitchFamily="34" charset="0"/>
              </a:rPr>
              <a:t> </a:t>
            </a:r>
            <a:r>
              <a:rPr lang="nl-NL" sz="1800" b="1" kern="0" err="1">
                <a:solidFill>
                  <a:srgbClr val="1B1C33"/>
                </a:solidFill>
                <a:latin typeface="FreightSans Pro Semibold" panose="02000606030000020004" pitchFamily="2" charset="0"/>
                <a:cs typeface="Arial" pitchFamily="34" charset="0"/>
              </a:rPr>
              <a:t>relationship</a:t>
            </a:r>
            <a:r>
              <a:rPr lang="nl-NL" sz="1800" b="1" kern="0">
                <a:solidFill>
                  <a:srgbClr val="1B1C33"/>
                </a:solidFill>
                <a:latin typeface="FreightSans Pro Semibold" panose="02000606030000020004" pitchFamily="2" charset="0"/>
                <a:cs typeface="Arial" pitchFamily="34" charset="0"/>
              </a:rPr>
              <a:t>*:</a:t>
            </a:r>
          </a:p>
        </p:txBody>
      </p:sp>
      <p:sp>
        <p:nvSpPr>
          <p:cNvPr id="33" name="Tijdelijke aanduiding voor tekst 25">
            <a:extLst>
              <a:ext uri="{FF2B5EF4-FFF2-40B4-BE49-F238E27FC236}">
                <a16:creationId xmlns:a16="http://schemas.microsoft.com/office/drawing/2014/main" id="{7F129AD8-68B2-1C17-E76D-B869154CAA6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88384" y="2828606"/>
            <a:ext cx="2745676" cy="1069975"/>
          </a:xfrm>
        </p:spPr>
        <p:txBody>
          <a:bodyPr/>
          <a:lstStyle>
            <a:lvl1pPr marL="0" indent="0">
              <a:buNone/>
              <a:defRPr sz="1600">
                <a:latin typeface="+mn-lt"/>
              </a:defRPr>
            </a:lvl1pPr>
          </a:lstStyle>
          <a:p>
            <a:pPr marL="260565" indent="-260565" defTabSz="1145401">
              <a:spcBef>
                <a:spcPts val="383"/>
              </a:spcBef>
              <a:buFont typeface="+mj-lt"/>
              <a:buAutoNum type="arabicPeriod"/>
              <a:defRPr/>
            </a:pPr>
            <a:r>
              <a:rPr lang="en-US" sz="1800" kern="0">
                <a:solidFill>
                  <a:schemeClr val="bg2">
                    <a:lumMod val="75000"/>
                  </a:schemeClr>
                </a:solidFill>
                <a:latin typeface="FreightSans Pro Book" panose="02000606030000020004" pitchFamily="2" charset="0"/>
                <a:cs typeface="HelveticaNowDisplay Regular" panose="020B0504030202020204" pitchFamily="34" charset="0"/>
              </a:rPr>
              <a:t>W</a:t>
            </a:r>
            <a:r>
              <a:rPr lang="en-US" sz="1800" kern="0">
                <a:solidFill>
                  <a:schemeClr val="bg2">
                    <a:lumMod val="75000"/>
                  </a:schemeClr>
                </a:solidFill>
                <a:latin typeface="FreightSans Pro Book" panose="02000606030000020004" pitchFamily="2" charset="0"/>
                <a:cs typeface="Arial" pitchFamily="34" charset="0"/>
              </a:rPr>
              <a:t>e motivate and enthuse each other (e.g. through celebrating successes).</a:t>
            </a:r>
          </a:p>
          <a:p>
            <a:pPr marL="260565" indent="-260565" defTabSz="1145401">
              <a:spcBef>
                <a:spcPts val="383"/>
              </a:spcBef>
              <a:buFont typeface="+mj-lt"/>
              <a:buAutoNum type="arabicPeriod"/>
              <a:defRPr/>
            </a:pPr>
            <a:r>
              <a:rPr lang="en-US" sz="1800" kern="0">
                <a:solidFill>
                  <a:schemeClr val="bg2">
                    <a:lumMod val="75000"/>
                  </a:schemeClr>
                </a:solidFill>
                <a:latin typeface="FreightSans Pro Book" panose="02000606030000020004" pitchFamily="2" charset="0"/>
                <a:cs typeface="Arial" pitchFamily="34" charset="0"/>
              </a:rPr>
              <a:t>We ensure that the client takes ownership.</a:t>
            </a:r>
          </a:p>
          <a:p>
            <a:pPr marL="260565" indent="-260565" defTabSz="1145401">
              <a:spcBef>
                <a:spcPts val="383"/>
              </a:spcBef>
              <a:buFont typeface="+mj-lt"/>
              <a:buAutoNum type="arabicPeriod"/>
              <a:defRPr/>
            </a:pPr>
            <a:r>
              <a:rPr lang="en-US" sz="1800" kern="0">
                <a:solidFill>
                  <a:schemeClr val="bg2">
                    <a:lumMod val="75000"/>
                  </a:schemeClr>
                </a:solidFill>
                <a:latin typeface="FreightSans Pro Book" panose="02000606030000020004" pitchFamily="2" charset="0"/>
                <a:cs typeface="Arial" pitchFamily="34" charset="0"/>
              </a:rPr>
              <a:t>We actively build personal trusted relationships (PVR) with the client to ensure close cooperation.</a:t>
            </a:r>
          </a:p>
          <a:p>
            <a:pPr marL="260565" indent="-260565" defTabSz="1145401">
              <a:spcBef>
                <a:spcPts val="383"/>
              </a:spcBef>
              <a:buFont typeface="+mj-lt"/>
              <a:buAutoNum type="arabicPeriod"/>
              <a:defRPr/>
            </a:pPr>
            <a:r>
              <a:rPr lang="en-US" sz="1800" kern="0">
                <a:solidFill>
                  <a:schemeClr val="bg2">
                    <a:lumMod val="75000"/>
                  </a:schemeClr>
                </a:solidFill>
                <a:latin typeface="FreightSans Pro Book" panose="02000606030000020004" pitchFamily="2" charset="0"/>
                <a:cs typeface="Arial" pitchFamily="34" charset="0"/>
              </a:rPr>
              <a:t>…</a:t>
            </a:r>
          </a:p>
          <a:p>
            <a:pPr marL="260565" indent="-260565" defTabSz="1145401">
              <a:spcBef>
                <a:spcPts val="383"/>
              </a:spcBef>
              <a:buFont typeface="+mj-lt"/>
              <a:buAutoNum type="arabicPeriod"/>
              <a:defRPr/>
            </a:pPr>
            <a:r>
              <a:rPr lang="en-US" sz="1800" kern="0">
                <a:solidFill>
                  <a:schemeClr val="bg2">
                    <a:lumMod val="75000"/>
                  </a:schemeClr>
                </a:solidFill>
                <a:latin typeface="FreightSans Pro Book" panose="02000606030000020004" pitchFamily="2" charset="0"/>
                <a:cs typeface="Arial" pitchFamily="34" charset="0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170033290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F7F607E-27EA-456C-97AA-B32D40860F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4" y="431800"/>
            <a:ext cx="9142518" cy="426583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72C0801C-A201-46AE-B2F2-B69B1EF93C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7545" y="6427788"/>
            <a:ext cx="2066346" cy="430212"/>
          </a:xfrm>
          <a:prstGeom prst="rect">
            <a:avLst/>
          </a:prstGeom>
        </p:spPr>
        <p:txBody>
          <a:bodyPr vert="horz" lIns="0" tIns="0" rIns="0" bIns="54000" rtlCol="0" anchor="ctr"/>
          <a:lstStyle>
            <a:lvl1pPr algn="l">
              <a:defRPr lang="en-NL" sz="912">
                <a:solidFill>
                  <a:srgbClr val="1B1C32"/>
                </a:solidFill>
                <a:latin typeface="HelveticaNowDisplay Light" panose="020B0404030202020204" pitchFamily="34" charset="0"/>
                <a:cs typeface="HelveticaNowDisplay Light" panose="020B0404030202020204" pitchFamily="34" charset="0"/>
              </a:defRPr>
            </a:lvl1pPr>
          </a:lstStyle>
          <a:p>
            <a:r>
              <a:rPr lang="en-US" noProof="0"/>
              <a:t>Title document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F02AC581-F1BE-4096-832C-FE9EAD100B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8543" y="6426999"/>
            <a:ext cx="209386" cy="431002"/>
          </a:xfrm>
          <a:prstGeom prst="rect">
            <a:avLst/>
          </a:prstGeom>
        </p:spPr>
        <p:txBody>
          <a:bodyPr vert="horz" lIns="0" tIns="0" rIns="0" bIns="54000" rtlCol="0" anchor="ctr"/>
          <a:lstStyle>
            <a:lvl1pPr algn="r">
              <a:defRPr sz="912">
                <a:solidFill>
                  <a:srgbClr val="1B1C32"/>
                </a:solidFill>
                <a:latin typeface="HelveticaNowDisplay Bold" panose="020B0804030202020204" pitchFamily="34" charset="0"/>
                <a:cs typeface="HelveticaNowDisplay Bold" panose="020B0804030202020204" pitchFamily="34" charset="0"/>
              </a:defRPr>
            </a:lvl1pPr>
          </a:lstStyle>
          <a:p>
            <a:fld id="{1FFC24F5-86FC-B34E-9C4E-2BC5AF42D9A6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864021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topic 3">
    <p:bg>
      <p:bgPr>
        <a:gradFill>
          <a:gsLst>
            <a:gs pos="16000">
              <a:schemeClr val="accent5"/>
            </a:gs>
            <a:gs pos="7917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599605F-7C2C-A0CE-F449-5807C820EB05}"/>
              </a:ext>
            </a:extLst>
          </p:cNvPr>
          <p:cNvSpPr/>
          <p:nvPr userDrawn="1"/>
        </p:nvSpPr>
        <p:spPr>
          <a:xfrm>
            <a:off x="2661197" y="3423778"/>
            <a:ext cx="6869604" cy="3434802"/>
          </a:xfrm>
          <a:custGeom>
            <a:avLst/>
            <a:gdLst>
              <a:gd name="connsiteX0" fmla="*/ 3434802 w 6869604"/>
              <a:gd name="connsiteY0" fmla="*/ 0 h 3434802"/>
              <a:gd name="connsiteX1" fmla="*/ 6869604 w 6869604"/>
              <a:gd name="connsiteY1" fmla="*/ 3434802 h 3434802"/>
              <a:gd name="connsiteX2" fmla="*/ 3434802 w 6869604"/>
              <a:gd name="connsiteY2" fmla="*/ 3434802 h 3434802"/>
              <a:gd name="connsiteX3" fmla="*/ 0 w 6869604"/>
              <a:gd name="connsiteY3" fmla="*/ 3434802 h 3434802"/>
              <a:gd name="connsiteX4" fmla="*/ 3434802 w 6869604"/>
              <a:gd name="connsiteY4" fmla="*/ 0 h 3434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69604" h="3434802">
                <a:moveTo>
                  <a:pt x="3434802" y="0"/>
                </a:moveTo>
                <a:cubicBezTo>
                  <a:pt x="5331894" y="0"/>
                  <a:pt x="6869604" y="1537710"/>
                  <a:pt x="6869604" y="3434802"/>
                </a:cubicBezTo>
                <a:lnTo>
                  <a:pt x="3434802" y="3434802"/>
                </a:lnTo>
                <a:lnTo>
                  <a:pt x="0" y="3434802"/>
                </a:lnTo>
                <a:cubicBezTo>
                  <a:pt x="0" y="1537710"/>
                  <a:pt x="1537710" y="0"/>
                  <a:pt x="3434802" y="0"/>
                </a:cubicBezTo>
                <a:close/>
              </a:path>
            </a:pathLst>
          </a:custGeom>
          <a:solidFill>
            <a:schemeClr val="accent5"/>
          </a:solidFill>
          <a:ln w="794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DF11862-76B8-3837-158E-7C4E37DAE92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1"/>
            <a:ext cx="6096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765A5C9-E1F7-3348-23BF-EA6EF843BA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938" y="0"/>
            <a:ext cx="1600200" cy="8001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A3C314D-AA1C-BD6B-53EE-B2AFEF0CEF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9" y="2076653"/>
            <a:ext cx="5580062" cy="1352347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68FD561F-548F-7BC4-68DD-DF210EAE87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8893" y="3964506"/>
            <a:ext cx="5567108" cy="323165"/>
          </a:xfrm>
          <a:noFill/>
        </p:spPr>
        <p:txBody>
          <a:bodyPr wrap="square" lIns="0" tIns="0" rIns="0" bIns="0" rtlCol="0" anchor="b">
            <a:noAutofit/>
          </a:bodyPr>
          <a:lstStyle>
            <a:lvl1pPr marL="0" indent="0">
              <a:spcBef>
                <a:spcPts val="0"/>
              </a:spcBef>
              <a:buNone/>
              <a:defRPr lang="en-US" sz="1600" smtClean="0">
                <a:solidFill>
                  <a:schemeClr val="bg1"/>
                </a:solidFill>
                <a:latin typeface="+mn-lt"/>
              </a:defRPr>
            </a:lvl1pPr>
            <a:lvl2pPr>
              <a:defRPr lang="en-US" smtClean="0"/>
            </a:lvl2pPr>
            <a:lvl3pPr>
              <a:defRPr lang="en-US" sz="1800" smtClean="0"/>
            </a:lvl3pPr>
            <a:lvl4pPr>
              <a:defRPr lang="en-US" sz="1800" smtClean="0"/>
            </a:lvl4pPr>
            <a:lvl5pPr>
              <a:defRPr lang="en-US" sz="1800"/>
            </a:lvl5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C40B468B-808F-C8DF-1C5B-B5DDE29036A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3465472"/>
            <a:ext cx="5567108" cy="507216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 algn="l">
              <a:buNone/>
              <a:defRPr>
                <a:solidFill>
                  <a:schemeClr val="bg1"/>
                </a:solidFill>
              </a:defRPr>
            </a:lvl2pPr>
            <a:lvl3pPr marL="914400" indent="0" algn="l">
              <a:buNone/>
              <a:defRPr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bg1"/>
                </a:solidFill>
              </a:defRPr>
            </a:lvl4pPr>
            <a:lvl5pPr marL="1828800" indent="0" algn="l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A2E2189D-811F-B254-A719-F418284EAF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2926" y="1376363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566155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topic 4">
    <p:bg>
      <p:bgPr>
        <a:gradFill>
          <a:gsLst>
            <a:gs pos="43000">
              <a:schemeClr val="accent5"/>
            </a:gs>
            <a:gs pos="100000">
              <a:schemeClr val="accent4"/>
            </a:gs>
          </a:gsLst>
          <a:lin ang="10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3">
            <a:extLst>
              <a:ext uri="{FF2B5EF4-FFF2-40B4-BE49-F238E27FC236}">
                <a16:creationId xmlns:a16="http://schemas.microsoft.com/office/drawing/2014/main" id="{67666685-6D56-7BF6-6F82-F525232A4A2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613520" y="0"/>
            <a:ext cx="9592994" cy="6858000"/>
          </a:xfrm>
          <a:custGeom>
            <a:avLst/>
            <a:gdLst>
              <a:gd name="connsiteX0" fmla="*/ 0 w 8763000"/>
              <a:gd name="connsiteY0" fmla="*/ 0 h 6858000"/>
              <a:gd name="connsiteX1" fmla="*/ 8763000 w 8763000"/>
              <a:gd name="connsiteY1" fmla="*/ 0 h 6858000"/>
              <a:gd name="connsiteX2" fmla="*/ 8763000 w 8763000"/>
              <a:gd name="connsiteY2" fmla="*/ 6858000 h 6858000"/>
              <a:gd name="connsiteX3" fmla="*/ 0 w 8763000"/>
              <a:gd name="connsiteY3" fmla="*/ 6858000 h 6858000"/>
              <a:gd name="connsiteX4" fmla="*/ 3429000 w 8763000"/>
              <a:gd name="connsiteY4" fmla="*/ 3429000 h 6858000"/>
              <a:gd name="connsiteX5" fmla="*/ 0 w 8763000"/>
              <a:gd name="connsiteY5" fmla="*/ 0 h 6858000"/>
              <a:gd name="connsiteX0" fmla="*/ 0 w 9592994"/>
              <a:gd name="connsiteY0" fmla="*/ 0 h 6858000"/>
              <a:gd name="connsiteX1" fmla="*/ 9592994 w 9592994"/>
              <a:gd name="connsiteY1" fmla="*/ 0 h 6858000"/>
              <a:gd name="connsiteX2" fmla="*/ 8763000 w 9592994"/>
              <a:gd name="connsiteY2" fmla="*/ 6858000 h 6858000"/>
              <a:gd name="connsiteX3" fmla="*/ 0 w 9592994"/>
              <a:gd name="connsiteY3" fmla="*/ 6858000 h 6858000"/>
              <a:gd name="connsiteX4" fmla="*/ 3429000 w 9592994"/>
              <a:gd name="connsiteY4" fmla="*/ 3429000 h 6858000"/>
              <a:gd name="connsiteX5" fmla="*/ 0 w 9592994"/>
              <a:gd name="connsiteY5" fmla="*/ 0 h 6858000"/>
              <a:gd name="connsiteX0" fmla="*/ 0 w 9592994"/>
              <a:gd name="connsiteY0" fmla="*/ 0 h 6858000"/>
              <a:gd name="connsiteX1" fmla="*/ 9592994 w 9592994"/>
              <a:gd name="connsiteY1" fmla="*/ 0 h 6858000"/>
              <a:gd name="connsiteX2" fmla="*/ 9592994 w 9592994"/>
              <a:gd name="connsiteY2" fmla="*/ 6858000 h 6858000"/>
              <a:gd name="connsiteX3" fmla="*/ 0 w 9592994"/>
              <a:gd name="connsiteY3" fmla="*/ 6858000 h 6858000"/>
              <a:gd name="connsiteX4" fmla="*/ 3429000 w 9592994"/>
              <a:gd name="connsiteY4" fmla="*/ 3429000 h 6858000"/>
              <a:gd name="connsiteX5" fmla="*/ 0 w 959299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592994" h="6858000">
                <a:moveTo>
                  <a:pt x="0" y="0"/>
                </a:moveTo>
                <a:lnTo>
                  <a:pt x="9592994" y="0"/>
                </a:lnTo>
                <a:lnTo>
                  <a:pt x="9592994" y="6858000"/>
                </a:lnTo>
                <a:lnTo>
                  <a:pt x="0" y="6858000"/>
                </a:lnTo>
                <a:cubicBezTo>
                  <a:pt x="1893570" y="6858000"/>
                  <a:pt x="3429000" y="5322570"/>
                  <a:pt x="3429000" y="3429000"/>
                </a:cubicBezTo>
                <a:cubicBezTo>
                  <a:pt x="3429000" y="1535430"/>
                  <a:pt x="1893570" y="0"/>
                  <a:pt x="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numCol="1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765A5C9-E1F7-3348-23BF-EA6EF843BA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938" y="0"/>
            <a:ext cx="1600200" cy="8001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36131D1A-F627-1CA0-91BA-D9DAE494DF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9" y="2076653"/>
            <a:ext cx="5580062" cy="1352347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4EC94016-AD11-B156-98F2-C1E124095E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8893" y="3964506"/>
            <a:ext cx="5567108" cy="323165"/>
          </a:xfrm>
          <a:noFill/>
        </p:spPr>
        <p:txBody>
          <a:bodyPr wrap="square" lIns="0" tIns="0" rIns="0" bIns="0" rtlCol="0" anchor="b">
            <a:noAutofit/>
          </a:bodyPr>
          <a:lstStyle>
            <a:lvl1pPr marL="0" indent="0">
              <a:spcBef>
                <a:spcPts val="0"/>
              </a:spcBef>
              <a:buNone/>
              <a:defRPr lang="en-US" sz="1600" smtClean="0">
                <a:solidFill>
                  <a:schemeClr val="bg1"/>
                </a:solidFill>
                <a:latin typeface="+mn-lt"/>
              </a:defRPr>
            </a:lvl1pPr>
            <a:lvl2pPr>
              <a:defRPr lang="en-US" smtClean="0"/>
            </a:lvl2pPr>
            <a:lvl3pPr>
              <a:defRPr lang="en-US" sz="1800" smtClean="0"/>
            </a:lvl3pPr>
            <a:lvl4pPr>
              <a:defRPr lang="en-US" sz="1800" smtClean="0"/>
            </a:lvl4pPr>
            <a:lvl5pPr>
              <a:defRPr lang="en-US" sz="1800"/>
            </a:lvl5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615C2D93-44E5-8319-92D0-960503B68F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3465472"/>
            <a:ext cx="5567108" cy="507216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 algn="l">
              <a:buNone/>
              <a:defRPr>
                <a:solidFill>
                  <a:schemeClr val="bg1"/>
                </a:solidFill>
              </a:defRPr>
            </a:lvl2pPr>
            <a:lvl3pPr marL="914400" indent="0" algn="l">
              <a:buNone/>
              <a:defRPr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bg1"/>
                </a:solidFill>
              </a:defRPr>
            </a:lvl4pPr>
            <a:lvl5pPr marL="1828800" indent="0" algn="l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EBF048E3-477A-8F2A-1F22-910A65E1B8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2926" y="1376363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931697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topic 5">
    <p:bg>
      <p:bgPr>
        <a:gradFill>
          <a:gsLst>
            <a:gs pos="0">
              <a:schemeClr val="tx1"/>
            </a:gs>
            <a:gs pos="10000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A1249991-D1D9-6AA6-49EB-21D83BACD61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316467" y="0"/>
            <a:ext cx="6875533" cy="6867525"/>
          </a:xfrm>
          <a:custGeom>
            <a:avLst/>
            <a:gdLst>
              <a:gd name="connsiteX0" fmla="*/ 6434433 w 6899170"/>
              <a:gd name="connsiteY0" fmla="*/ 0 h 6858000"/>
              <a:gd name="connsiteX1" fmla="*/ 6899170 w 6899170"/>
              <a:gd name="connsiteY1" fmla="*/ 0 h 6858000"/>
              <a:gd name="connsiteX2" fmla="*/ 6899170 w 6899170"/>
              <a:gd name="connsiteY2" fmla="*/ 6858000 h 6858000"/>
              <a:gd name="connsiteX3" fmla="*/ 0 w 6899170"/>
              <a:gd name="connsiteY3" fmla="*/ 6858000 h 6858000"/>
              <a:gd name="connsiteX4" fmla="*/ 6812 w 6899170"/>
              <a:gd name="connsiteY4" fmla="*/ 6570687 h 6858000"/>
              <a:gd name="connsiteX5" fmla="*/ 6214863 w 6899170"/>
              <a:gd name="connsiteY5" fmla="*/ 1669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99170" h="6858000">
                <a:moveTo>
                  <a:pt x="6434433" y="0"/>
                </a:moveTo>
                <a:lnTo>
                  <a:pt x="6899170" y="0"/>
                </a:lnTo>
                <a:lnTo>
                  <a:pt x="6899170" y="6858000"/>
                </a:lnTo>
                <a:lnTo>
                  <a:pt x="0" y="6858000"/>
                </a:lnTo>
                <a:lnTo>
                  <a:pt x="6812" y="6570687"/>
                </a:lnTo>
                <a:cubicBezTo>
                  <a:pt x="169923" y="3138129"/>
                  <a:pt x="2832551" y="360190"/>
                  <a:pt x="6214863" y="16697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4CF565F-72C5-29DA-4312-4DC377982A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938" y="0"/>
            <a:ext cx="1600200" cy="8001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476A9017-E104-70C4-1DA4-0CD60EC720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9" y="2076653"/>
            <a:ext cx="5580062" cy="1352347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F8A21A67-5891-7A9D-B5CA-E8DF0F7F4B8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8893" y="3964506"/>
            <a:ext cx="5567108" cy="323165"/>
          </a:xfrm>
          <a:noFill/>
        </p:spPr>
        <p:txBody>
          <a:bodyPr wrap="square" lIns="0" tIns="0" rIns="0" bIns="0" rtlCol="0" anchor="b">
            <a:noAutofit/>
          </a:bodyPr>
          <a:lstStyle>
            <a:lvl1pPr marL="0" indent="0">
              <a:spcBef>
                <a:spcPts val="0"/>
              </a:spcBef>
              <a:buNone/>
              <a:defRPr lang="en-US" sz="1600" smtClean="0">
                <a:solidFill>
                  <a:schemeClr val="bg1"/>
                </a:solidFill>
                <a:latin typeface="+mn-lt"/>
              </a:defRPr>
            </a:lvl1pPr>
            <a:lvl2pPr>
              <a:defRPr lang="en-US" smtClean="0"/>
            </a:lvl2pPr>
            <a:lvl3pPr>
              <a:defRPr lang="en-US" sz="1800" smtClean="0"/>
            </a:lvl3pPr>
            <a:lvl4pPr>
              <a:defRPr lang="en-US" sz="1800" smtClean="0"/>
            </a:lvl4pPr>
            <a:lvl5pPr>
              <a:defRPr lang="en-US" sz="1800"/>
            </a:lvl5pPr>
          </a:lstStyle>
          <a:p>
            <a:pPr marL="0" lvl="0"/>
            <a:r>
              <a:rPr lang="en-GB"/>
              <a:t>Click to edit Master text styles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F733ED4-9579-6868-4E25-D2EB2BC3DCC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3465472"/>
            <a:ext cx="5567108" cy="507216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 algn="l">
              <a:buNone/>
              <a:defRPr>
                <a:solidFill>
                  <a:schemeClr val="bg1"/>
                </a:solidFill>
              </a:defRPr>
            </a:lvl2pPr>
            <a:lvl3pPr marL="914400" indent="0" algn="l">
              <a:buNone/>
              <a:defRPr>
                <a:solidFill>
                  <a:schemeClr val="bg1"/>
                </a:solidFill>
              </a:defRPr>
            </a:lvl3pPr>
            <a:lvl4pPr marL="1371600" indent="0" algn="l">
              <a:buNone/>
              <a:defRPr>
                <a:solidFill>
                  <a:schemeClr val="bg1"/>
                </a:solidFill>
              </a:defRPr>
            </a:lvl4pPr>
            <a:lvl5pPr marL="1828800" indent="0" algn="l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ijdelijke aanduiding voor tekst 5">
            <a:extLst>
              <a:ext uri="{FF2B5EF4-FFF2-40B4-BE49-F238E27FC236}">
                <a16:creationId xmlns:a16="http://schemas.microsoft.com/office/drawing/2014/main" id="{9704399C-566A-DF75-B56F-2C01A2C425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2926" y="1376363"/>
            <a:ext cx="5553074" cy="38576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ubheading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203673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5142DDE-4C4F-880F-08B3-611B04E249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3"/>
            </p:custDataLst>
            <p:extLst>
              <p:ext uri="{D42A27DB-BD31-4B8C-83A1-F6EECF244321}">
                <p14:modId xmlns:p14="http://schemas.microsoft.com/office/powerpoint/2010/main" val="2998957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4" imgW="395" imgH="394" progId="TCLayout.ActiveDocument.1">
                  <p:embed/>
                </p:oleObj>
              </mc:Choice>
              <mc:Fallback>
                <p:oleObj name="think-cell Slide" r:id="rId64" imgW="395" imgH="394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142DDE-4C4F-880F-08B3-611B04E249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D6A5D6E-6630-2918-F8CB-0081CE8B67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9" y="512763"/>
            <a:ext cx="8459786" cy="11309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901FD5-062B-EF88-02F4-C8F763A810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9" y="2060575"/>
            <a:ext cx="8459786" cy="41052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9E1585-6580-8C55-4F96-37A07415D1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0D6191-B763-EB1F-B189-4F310A95127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4"/>
          </p:nvPr>
        </p:nvSpPr>
        <p:spPr>
          <a:xfrm>
            <a:off x="893286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4"/>
                </a:solidFill>
              </a:defRPr>
            </a:lvl1pPr>
          </a:lstStyle>
          <a:p>
            <a:fld id="{B8B20AC8-9871-4AEB-A36A-D6BEF7DDDDB2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4303E19-BC1A-2023-4371-C56807068078}"/>
              </a:ext>
            </a:extLst>
          </p:cNvPr>
          <p:cNvGrpSpPr/>
          <p:nvPr userDrawn="1"/>
        </p:nvGrpSpPr>
        <p:grpSpPr>
          <a:xfrm>
            <a:off x="-970564" y="-4982"/>
            <a:ext cx="556609" cy="6866623"/>
            <a:chOff x="-970564" y="-4982"/>
            <a:chExt cx="556609" cy="6866623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6E6097AC-6A46-179E-A554-1B55C8B6DD5B}"/>
                </a:ext>
              </a:extLst>
            </p:cNvPr>
            <p:cNvSpPr/>
            <p:nvPr/>
          </p:nvSpPr>
          <p:spPr>
            <a:xfrm>
              <a:off x="-970564" y="696131"/>
              <a:ext cx="556609" cy="556609"/>
            </a:xfrm>
            <a:prstGeom prst="ellipse">
              <a:avLst/>
            </a:prstGeom>
            <a:solidFill>
              <a:srgbClr val="F96D06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F96D06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DDB136CE-DC18-A60D-2752-FBA1B33E7AA0}"/>
                </a:ext>
              </a:extLst>
            </p:cNvPr>
            <p:cNvSpPr/>
            <p:nvPr/>
          </p:nvSpPr>
          <p:spPr>
            <a:xfrm>
              <a:off x="-970564" y="2799470"/>
              <a:ext cx="556609" cy="556609"/>
            </a:xfrm>
            <a:prstGeom prst="ellipse">
              <a:avLst/>
            </a:prstGeom>
            <a:solidFill>
              <a:srgbClr val="133AF5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133AF5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BD7C832D-BC83-CAD4-0DAF-253AD3209F33}"/>
                </a:ext>
              </a:extLst>
            </p:cNvPr>
            <p:cNvSpPr/>
            <p:nvPr/>
          </p:nvSpPr>
          <p:spPr>
            <a:xfrm>
              <a:off x="-970564" y="5603922"/>
              <a:ext cx="556609" cy="556609"/>
            </a:xfrm>
            <a:prstGeom prst="ellipse">
              <a:avLst/>
            </a:prstGeom>
            <a:solidFill>
              <a:srgbClr val="A3A3A3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A3A3A3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2DA52751-213A-99CF-19F6-375F75BB731B}"/>
                </a:ext>
              </a:extLst>
            </p:cNvPr>
            <p:cNvSpPr/>
            <p:nvPr/>
          </p:nvSpPr>
          <p:spPr>
            <a:xfrm>
              <a:off x="-970564" y="3500583"/>
              <a:ext cx="556609" cy="556609"/>
            </a:xfrm>
            <a:prstGeom prst="ellipse">
              <a:avLst/>
            </a:prstGeom>
            <a:solidFill>
              <a:srgbClr val="57A2FF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57A2FF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B748C09E-BD8D-1DC3-1C03-417BC3F55E11}"/>
                </a:ext>
              </a:extLst>
            </p:cNvPr>
            <p:cNvSpPr/>
            <p:nvPr/>
          </p:nvSpPr>
          <p:spPr>
            <a:xfrm>
              <a:off x="-970564" y="6305032"/>
              <a:ext cx="556609" cy="556609"/>
            </a:xfrm>
            <a:prstGeom prst="ellipse">
              <a:avLst/>
            </a:prstGeom>
            <a:solidFill>
              <a:srgbClr val="E7E5E4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tx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E7E5E4</a:t>
              </a:r>
              <a:endParaRPr lang="en-US" sz="700" b="0" i="0">
                <a:solidFill>
                  <a:schemeClr val="tx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B1FE0040-9453-A2BB-E31E-2B1BE83D37F6}"/>
                </a:ext>
              </a:extLst>
            </p:cNvPr>
            <p:cNvSpPr/>
            <p:nvPr/>
          </p:nvSpPr>
          <p:spPr>
            <a:xfrm>
              <a:off x="-970564" y="4902809"/>
              <a:ext cx="556609" cy="556609"/>
            </a:xfrm>
            <a:prstGeom prst="ellipse">
              <a:avLst/>
            </a:prstGeom>
            <a:solidFill>
              <a:srgbClr val="57534E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57534E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9A8C453B-E568-72D2-B1E1-40D3A0989CCB}"/>
                </a:ext>
              </a:extLst>
            </p:cNvPr>
            <p:cNvSpPr/>
            <p:nvPr/>
          </p:nvSpPr>
          <p:spPr>
            <a:xfrm>
              <a:off x="-970564" y="4201696"/>
              <a:ext cx="556609" cy="556609"/>
            </a:xfrm>
            <a:prstGeom prst="ellipse">
              <a:avLst/>
            </a:prstGeom>
            <a:solidFill>
              <a:srgbClr val="1C1917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1C1917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5E797D0-F3A6-FEFD-6375-95DE82C54FB5}"/>
                </a:ext>
              </a:extLst>
            </p:cNvPr>
            <p:cNvSpPr/>
            <p:nvPr/>
          </p:nvSpPr>
          <p:spPr>
            <a:xfrm>
              <a:off x="-970564" y="2098357"/>
              <a:ext cx="556609" cy="556609"/>
            </a:xfrm>
            <a:prstGeom prst="ellipse">
              <a:avLst/>
            </a:prstGeom>
            <a:solidFill>
              <a:srgbClr val="071F65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071F65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2B5F168-A9DC-DED2-1527-810ACB66E0CE}"/>
                </a:ext>
              </a:extLst>
            </p:cNvPr>
            <p:cNvSpPr/>
            <p:nvPr/>
          </p:nvSpPr>
          <p:spPr>
            <a:xfrm>
              <a:off x="-970564" y="1397244"/>
              <a:ext cx="556609" cy="556609"/>
            </a:xfrm>
            <a:prstGeom prst="ellipse">
              <a:avLst/>
            </a:prstGeom>
            <a:solidFill>
              <a:srgbClr val="801626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801626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9BBA02E-9727-ABCA-9153-3114F1120436}"/>
                </a:ext>
              </a:extLst>
            </p:cNvPr>
            <p:cNvSpPr/>
            <p:nvPr/>
          </p:nvSpPr>
          <p:spPr>
            <a:xfrm>
              <a:off x="-970564" y="-4982"/>
              <a:ext cx="556609" cy="556609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700" b="0" i="0" u="none" strike="noStrike" baseline="0">
                  <a:solidFill>
                    <a:schemeClr val="bg1"/>
                  </a:solidFill>
                  <a:latin typeface="FreightSans Pro Book" panose="02000606030000020004" pitchFamily="2" charset="0"/>
                  <a:cs typeface="Arial" panose="020B0604020202020204" pitchFamily="34" charset="0"/>
                </a:rPr>
                <a:t>#E6341F</a:t>
              </a:r>
              <a:endParaRPr lang="en-US" sz="700" b="0" i="0">
                <a:solidFill>
                  <a:schemeClr val="bg1"/>
                </a:solidFill>
                <a:latin typeface="FreightSans Pro Book" panose="02000606030000020004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7" name="Tijdelijke aanduiding voor afbeelding 25">
            <a:extLst>
              <a:ext uri="{FF2B5EF4-FFF2-40B4-BE49-F238E27FC236}">
                <a16:creationId xmlns:a16="http://schemas.microsoft.com/office/drawing/2014/main" id="{C4C28474-9281-131C-53ED-E036F9964FCF}"/>
              </a:ext>
            </a:extLst>
          </p:cNvPr>
          <p:cNvSpPr txBox="1">
            <a:spLocks/>
          </p:cNvSpPr>
          <p:nvPr userDrawn="1"/>
        </p:nvSpPr>
        <p:spPr>
          <a:xfrm>
            <a:off x="9684590" y="49356"/>
            <a:ext cx="1008810" cy="495300"/>
          </a:xfrm>
          <a:prstGeom prst="rect">
            <a:avLst/>
          </a:prstGeom>
          <a:solidFill>
            <a:srgbClr val="E7E5E4"/>
          </a:solidFill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sz="1050">
                <a:solidFill>
                  <a:schemeClr val="tx1"/>
                </a:solidFill>
              </a:rPr>
              <a:t>client logo</a:t>
            </a:r>
            <a:endParaRPr lang="nl-NL" sz="1000">
              <a:solidFill>
                <a:schemeClr val="tx1"/>
              </a:solidFill>
            </a:endParaRPr>
          </a:p>
        </p:txBody>
      </p:sp>
      <p:cxnSp>
        <p:nvCxnSpPr>
          <p:cNvPr id="16" name="Rechte verbindingslijn 9">
            <a:extLst>
              <a:ext uri="{FF2B5EF4-FFF2-40B4-BE49-F238E27FC236}">
                <a16:creationId xmlns:a16="http://schemas.microsoft.com/office/drawing/2014/main" id="{D9C571D8-E980-CC64-D650-DCD349DE12D8}"/>
              </a:ext>
            </a:extLst>
          </p:cNvPr>
          <p:cNvCxnSpPr/>
          <p:nvPr userDrawn="1"/>
        </p:nvCxnSpPr>
        <p:spPr>
          <a:xfrm flipV="1">
            <a:off x="10833100" y="0"/>
            <a:ext cx="0" cy="596900"/>
          </a:xfrm>
          <a:prstGeom prst="line">
            <a:avLst/>
          </a:prstGeom>
          <a:ln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8680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9" r:id="rId2"/>
    <p:sldLayoutId id="2147483710" r:id="rId3"/>
    <p:sldLayoutId id="2147483708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57" r:id="rId10"/>
    <p:sldLayoutId id="2147483706" r:id="rId11"/>
    <p:sldLayoutId id="2147483707" r:id="rId12"/>
    <p:sldLayoutId id="2147483654" r:id="rId13"/>
    <p:sldLayoutId id="2147483704" r:id="rId14"/>
    <p:sldLayoutId id="2147483715" r:id="rId15"/>
    <p:sldLayoutId id="2147483718" r:id="rId16"/>
    <p:sldLayoutId id="2147483714" r:id="rId17"/>
    <p:sldLayoutId id="2147483664" r:id="rId18"/>
    <p:sldLayoutId id="2147483740" r:id="rId19"/>
    <p:sldLayoutId id="2147483665" r:id="rId20"/>
    <p:sldLayoutId id="2147483716" r:id="rId21"/>
    <p:sldLayoutId id="2147483650" r:id="rId22"/>
    <p:sldLayoutId id="2147483705" r:id="rId23"/>
    <p:sldLayoutId id="2147483719" r:id="rId24"/>
    <p:sldLayoutId id="2147483703" r:id="rId25"/>
    <p:sldLayoutId id="2147483702" r:id="rId26"/>
    <p:sldLayoutId id="2147483720" r:id="rId27"/>
    <p:sldLayoutId id="2147483661" r:id="rId28"/>
    <p:sldLayoutId id="2147483689" r:id="rId29"/>
    <p:sldLayoutId id="2147483672" r:id="rId30"/>
    <p:sldLayoutId id="2147483692" r:id="rId31"/>
    <p:sldLayoutId id="2147483679" r:id="rId32"/>
    <p:sldLayoutId id="2147483663" r:id="rId33"/>
    <p:sldLayoutId id="2147483670" r:id="rId34"/>
    <p:sldLayoutId id="2147483737" r:id="rId35"/>
    <p:sldLayoutId id="2147483736" r:id="rId36"/>
    <p:sldLayoutId id="2147483671" r:id="rId37"/>
    <p:sldLayoutId id="2147483694" r:id="rId38"/>
    <p:sldLayoutId id="2147483695" r:id="rId39"/>
    <p:sldLayoutId id="2147483673" r:id="rId40"/>
    <p:sldLayoutId id="2147483696" r:id="rId41"/>
    <p:sldLayoutId id="2147483697" r:id="rId42"/>
    <p:sldLayoutId id="2147483738" r:id="rId43"/>
    <p:sldLayoutId id="2147483674" r:id="rId44"/>
    <p:sldLayoutId id="2147483680" r:id="rId45"/>
    <p:sldLayoutId id="2147483677" r:id="rId46"/>
    <p:sldLayoutId id="2147483700" r:id="rId47"/>
    <p:sldLayoutId id="2147483693" r:id="rId48"/>
    <p:sldLayoutId id="2147483675" r:id="rId49"/>
    <p:sldLayoutId id="2147483699" r:id="rId50"/>
    <p:sldLayoutId id="2147483698" r:id="rId51"/>
    <p:sldLayoutId id="2147483676" r:id="rId52"/>
    <p:sldLayoutId id="2147483678" r:id="rId53"/>
    <p:sldLayoutId id="2147483682" r:id="rId54"/>
    <p:sldLayoutId id="2147483717" r:id="rId55"/>
    <p:sldLayoutId id="2147483721" r:id="rId56"/>
    <p:sldLayoutId id="2147483681" r:id="rId57"/>
    <p:sldLayoutId id="2147483739" r:id="rId58"/>
    <p:sldLayoutId id="2147483741" r:id="rId59"/>
    <p:sldLayoutId id="2147483742" r:id="rId60"/>
    <p:sldLayoutId id="2147483743" r:id="rId6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25" userDrawn="1">
          <p15:clr>
            <a:srgbClr val="F26B43"/>
          </p15:clr>
        </p15:guide>
        <p15:guide id="3" orient="horz" pos="3884" userDrawn="1">
          <p15:clr>
            <a:srgbClr val="F26B43"/>
          </p15:clr>
        </p15:guide>
        <p15:guide id="4" orient="horz" pos="323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11" pos="5654" userDrawn="1">
          <p15:clr>
            <a:srgbClr val="F26B43"/>
          </p15:clr>
        </p15:guide>
        <p15:guide id="14" orient="horz" pos="867" userDrawn="1">
          <p15:clr>
            <a:srgbClr val="F26B43"/>
          </p15:clr>
        </p15:guide>
        <p15:guide id="15" orient="horz" pos="1298" userDrawn="1">
          <p15:clr>
            <a:srgbClr val="F26B43"/>
          </p15:clr>
        </p15:guide>
        <p15:guide id="21" pos="735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1.xml"/><Relationship Id="rId1" Type="http://schemas.openxmlformats.org/officeDocument/2006/relationships/tags" Target="../tags/tag3.xml"/><Relationship Id="rId5" Type="http://schemas.openxmlformats.org/officeDocument/2006/relationships/image" Target="../media/image52.png"/><Relationship Id="rId4" Type="http://schemas.openxmlformats.org/officeDocument/2006/relationships/image" Target="../media/image5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693BDA7-44B3-43A9-B8D9-48B23060E2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112"/>
          <a:ext cx="1811" cy="1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693BDA7-44B3-43A9-B8D9-48B23060E2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11" y="3112"/>
                        <a:ext cx="1811" cy="18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7076E8-4CAB-476F-A3A1-D3ABBF2AF7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>
                <a:latin typeface="Kepler Std" panose="0204060306070A060204" pitchFamily="18" charset="77"/>
              </a:rPr>
              <a:t>Registratie</a:t>
            </a:r>
            <a:r>
              <a:rPr lang="en-GB" dirty="0">
                <a:latin typeface="Kepler Std" panose="0204060306070A060204" pitchFamily="18" charset="77"/>
              </a:rPr>
              <a:t> template | &lt;naam van het idee&gt;</a:t>
            </a:r>
            <a:endParaRPr lang="en-NL" dirty="0">
              <a:latin typeface="Kepler Std" panose="0204060306070A060204" pitchFamily="18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B6D4ED-B403-4FA8-848C-573C348440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521156">
              <a:defRPr/>
            </a:pPr>
            <a:fld id="{1FFC24F5-86FC-B34E-9C4E-2BC5AF42D9A6}" type="slidenum">
              <a:rPr lang="en-NL"/>
              <a:pPr defTabSz="521156">
                <a:defRPr/>
              </a:pPr>
              <a:t>1</a:t>
            </a:fld>
            <a:endParaRPr lang="en-NL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F4A8987-9377-40F5-A91F-DFD6AF082AC4}"/>
              </a:ext>
            </a:extLst>
          </p:cNvPr>
          <p:cNvCxnSpPr>
            <a:cxnSpLocks/>
          </p:cNvCxnSpPr>
          <p:nvPr/>
        </p:nvCxnSpPr>
        <p:spPr>
          <a:xfrm>
            <a:off x="768785" y="2650118"/>
            <a:ext cx="10664723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C8976689-F2BB-4228-BFFE-DD0B586D1C4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765282" y="4710522"/>
            <a:ext cx="5169661" cy="169034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940">
              <a:defRPr/>
            </a:pPr>
            <a:r>
              <a:rPr lang="en-US" sz="1481" b="1">
                <a:solidFill>
                  <a:srgbClr val="FFFFFF"/>
                </a:solidFill>
                <a:latin typeface="Calibri"/>
                <a:cs typeface="Arial" pitchFamily="34" charset="0"/>
              </a:rPr>
              <a:t>Strategic relevance</a:t>
            </a:r>
            <a:endParaRPr lang="nl-NL" sz="1481" b="1">
              <a:solidFill>
                <a:srgbClr val="FFFFFF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7CA481B-DD8C-4DEB-9FD9-C1134D037200}"/>
              </a:ext>
            </a:extLst>
          </p:cNvPr>
          <p:cNvSpPr txBox="1"/>
          <p:nvPr/>
        </p:nvSpPr>
        <p:spPr>
          <a:xfrm>
            <a:off x="828177" y="4580387"/>
            <a:ext cx="5047375" cy="1772687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>
            <a:defPPr>
              <a:defRPr lang="en-US"/>
            </a:defPPr>
          </a:lstStyle>
          <a:p>
            <a:pPr marL="195423" indent="-195423" defTabSz="520940">
              <a:lnSpc>
                <a:spcPct val="150000"/>
              </a:lnSpc>
              <a:buFont typeface="Arial" pitchFamily="34" charset="0"/>
              <a:buChar char="•"/>
              <a:defRPr kumimoji="0" sz="1800" b="0" i="0" normalizeH="0" noProof="0">
                <a:solidFill>
                  <a:srgbClr val="1B1C33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endParaRPr lang="en-GB" sz="1254">
              <a:solidFill>
                <a:srgbClr val="1B1C33"/>
              </a:solidFill>
              <a:latin typeface="HelveticaNowDisplay Light" panose="020B0404030202020204" pitchFamily="34" charset="0"/>
              <a:cs typeface="HelveticaNowDisplay Light" panose="020B040403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A581F92-B1B0-4F35-819C-DA458A3B1D8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272962" y="4721191"/>
            <a:ext cx="5164968" cy="169871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940">
              <a:defRPr/>
            </a:pPr>
            <a:r>
              <a:rPr lang="en-US" sz="1481" b="1">
                <a:solidFill>
                  <a:srgbClr val="FFFFFF"/>
                </a:solidFill>
                <a:latin typeface="Calibri"/>
                <a:cs typeface="Arial" pitchFamily="34" charset="0"/>
              </a:rPr>
              <a:t>Strategic relevance</a:t>
            </a:r>
            <a:endParaRPr lang="nl-NL" sz="1481" b="1">
              <a:solidFill>
                <a:srgbClr val="FFFFFF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2E03ECD-19D4-4338-9EDE-A1865258AEA8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659041" y="4580386"/>
            <a:ext cx="3385645" cy="24558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</a:lstStyle>
          <a:p>
            <a:pPr algn="ctr" defTabSz="520940">
              <a:defRPr kumimoji="0" sz="1800" b="0" i="0" normalizeH="0" noProof="0">
                <a:solidFill>
                  <a:srgbClr val="1B1C33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nl-NL" sz="1596" dirty="0">
                <a:solidFill>
                  <a:srgbClr val="1B1C33"/>
                </a:solidFill>
                <a:latin typeface="Kepler Std" panose="0204060306070A060204" pitchFamily="18" charset="77"/>
                <a:cs typeface="HelveticaNowDisplay ExtraBold" panose="020B0904030202020204" pitchFamily="34" charset="0"/>
              </a:rPr>
              <a:t>Eerste ideeën voor de aanpak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556DF5B-ECCE-4364-8EB2-DFCCCC956C3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7653073" y="4606339"/>
            <a:ext cx="2407032" cy="24558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</a:lstStyle>
          <a:p>
            <a:pPr algn="ctr" defTabSz="520940">
              <a:defRPr kumimoji="0" sz="1800" b="0" i="0" normalizeH="0" noProof="0">
                <a:solidFill>
                  <a:srgbClr val="1B1C33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nl-NL" sz="1596" dirty="0">
                <a:solidFill>
                  <a:srgbClr val="1B1C33"/>
                </a:solidFill>
                <a:latin typeface="Kepler Std" panose="0204060306070A060204" pitchFamily="18" charset="77"/>
                <a:cs typeface="HelveticaNowDisplay ExtraBold" panose="020B0904030202020204" pitchFamily="34" charset="0"/>
              </a:rPr>
              <a:t>Schatting </a:t>
            </a:r>
            <a:r>
              <a:rPr lang="nl-NL" sz="1596" dirty="0" err="1">
                <a:solidFill>
                  <a:srgbClr val="1B1C33"/>
                </a:solidFill>
                <a:latin typeface="Kepler Std" panose="0204060306070A060204" pitchFamily="18" charset="77"/>
                <a:cs typeface="HelveticaNowDisplay ExtraBold" panose="020B0904030202020204" pitchFamily="34" charset="0"/>
              </a:rPr>
              <a:t>waardepotentieel</a:t>
            </a:r>
            <a:endParaRPr lang="nl-NL" sz="1596" dirty="0">
              <a:solidFill>
                <a:srgbClr val="1B1C33"/>
              </a:solidFill>
              <a:latin typeface="Kepler Std" panose="0204060306070A060204" pitchFamily="18" charset="77"/>
              <a:cs typeface="HelveticaNowDisplay Light" panose="020B040403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D2CF277-02D9-4DFC-B03F-B2A0F2C1BC1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765282" y="2821703"/>
            <a:ext cx="5169661" cy="169361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940">
              <a:defRPr/>
            </a:pPr>
            <a:r>
              <a:rPr lang="en-US" sz="1481" b="1">
                <a:solidFill>
                  <a:srgbClr val="FFFFFF"/>
                </a:solidFill>
                <a:latin typeface="Calibri"/>
                <a:cs typeface="Arial" pitchFamily="34" charset="0"/>
              </a:rPr>
              <a:t>Strategic relevance</a:t>
            </a:r>
            <a:endParaRPr lang="nl-NL" sz="1481" b="1">
              <a:solidFill>
                <a:srgbClr val="FFFFFF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A0382AA-345C-4B18-8302-ACBD13506C1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268268" y="2825671"/>
            <a:ext cx="5169661" cy="168964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940">
              <a:defRPr/>
            </a:pPr>
            <a:r>
              <a:rPr lang="en-US" sz="1481" b="1">
                <a:solidFill>
                  <a:srgbClr val="FFFFFF"/>
                </a:solidFill>
                <a:latin typeface="Calibri"/>
                <a:cs typeface="Arial" pitchFamily="34" charset="0"/>
              </a:rPr>
              <a:t>Strategic relevance</a:t>
            </a:r>
            <a:endParaRPr lang="nl-NL" sz="1481" b="1">
              <a:solidFill>
                <a:srgbClr val="FFFFFF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DBD0905-99FF-4B6A-890A-C2DE359C9574}"/>
              </a:ext>
            </a:extLst>
          </p:cNvPr>
          <p:cNvSpPr txBox="1">
            <a:spLocks/>
          </p:cNvSpPr>
          <p:nvPr/>
        </p:nvSpPr>
        <p:spPr>
          <a:xfrm>
            <a:off x="7339836" y="2741139"/>
            <a:ext cx="3018657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</a:lstStyle>
          <a:p>
            <a:pPr algn="ctr" defTabSz="520940">
              <a:defRPr kumimoji="0" sz="1800" b="0" i="0" normalizeH="0" noProof="0">
                <a:solidFill>
                  <a:srgbClr val="1B1C33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en-GB" sz="1600" dirty="0">
                <a:solidFill>
                  <a:srgbClr val="1B1C33"/>
                </a:solidFill>
                <a:latin typeface="Kepler Std" panose="0204060306070A060204" pitchFamily="18" charset="77"/>
                <a:cs typeface="HelveticaNowDisplay ExtraBold" panose="020B0904030202020204" pitchFamily="34" charset="0"/>
              </a:rPr>
              <a:t>Wat </a:t>
            </a:r>
            <a:r>
              <a:rPr lang="en-GB" sz="1600" dirty="0" err="1">
                <a:solidFill>
                  <a:srgbClr val="1B1C33"/>
                </a:solidFill>
                <a:latin typeface="Kepler Std" panose="0204060306070A060204" pitchFamily="18" charset="77"/>
                <a:cs typeface="HelveticaNowDisplay ExtraBold" panose="020B0904030202020204" pitchFamily="34" charset="0"/>
              </a:rPr>
              <a:t>zou</a:t>
            </a:r>
            <a:r>
              <a:rPr lang="en-GB" sz="1600" dirty="0">
                <a:solidFill>
                  <a:srgbClr val="1B1C33"/>
                </a:solidFill>
                <a:latin typeface="Kepler Std" panose="0204060306070A060204" pitchFamily="18" charset="77"/>
                <a:cs typeface="HelveticaNowDisplay ExtraBold" panose="020B0904030202020204" pitchFamily="34" charset="0"/>
              </a:rPr>
              <a:t> de </a:t>
            </a:r>
            <a:r>
              <a:rPr lang="en-GB" sz="1600" dirty="0" err="1">
                <a:solidFill>
                  <a:srgbClr val="1B1C33"/>
                </a:solidFill>
                <a:latin typeface="Kepler Std" panose="0204060306070A060204" pitchFamily="18" charset="77"/>
                <a:cs typeface="HelveticaNowDisplay ExtraBold" panose="020B0904030202020204" pitchFamily="34" charset="0"/>
              </a:rPr>
              <a:t>ideale</a:t>
            </a:r>
            <a:r>
              <a:rPr lang="en-GB" sz="1600" dirty="0">
                <a:solidFill>
                  <a:srgbClr val="1B1C33"/>
                </a:solidFill>
                <a:latin typeface="Kepler Std" panose="0204060306070A060204" pitchFamily="18" charset="77"/>
                <a:cs typeface="HelveticaNowDisplay ExtraBold" panose="020B0904030202020204" pitchFamily="34" charset="0"/>
              </a:rPr>
              <a:t> </a:t>
            </a:r>
            <a:r>
              <a:rPr lang="en-GB" sz="1600" dirty="0" err="1">
                <a:solidFill>
                  <a:srgbClr val="1B1C33"/>
                </a:solidFill>
                <a:latin typeface="Kepler Std" panose="0204060306070A060204" pitchFamily="18" charset="77"/>
                <a:cs typeface="HelveticaNowDisplay ExtraBold" panose="020B0904030202020204" pitchFamily="34" charset="0"/>
              </a:rPr>
              <a:t>situatie</a:t>
            </a:r>
            <a:r>
              <a:rPr lang="en-GB" sz="1600" dirty="0">
                <a:solidFill>
                  <a:srgbClr val="1B1C33"/>
                </a:solidFill>
                <a:latin typeface="Kepler Std" panose="0204060306070A060204" pitchFamily="18" charset="77"/>
                <a:cs typeface="HelveticaNowDisplay ExtraBold" panose="020B0904030202020204" pitchFamily="34" charset="0"/>
              </a:rPr>
              <a:t> </a:t>
            </a:r>
            <a:r>
              <a:rPr lang="en-GB" sz="1600" dirty="0" err="1">
                <a:solidFill>
                  <a:srgbClr val="1B1C33"/>
                </a:solidFill>
                <a:latin typeface="Kepler Std" panose="0204060306070A060204" pitchFamily="18" charset="77"/>
                <a:cs typeface="HelveticaNowDisplay ExtraBold" panose="020B0904030202020204" pitchFamily="34" charset="0"/>
              </a:rPr>
              <a:t>zijn</a:t>
            </a:r>
            <a:r>
              <a:rPr lang="en-GB" sz="1600" dirty="0">
                <a:solidFill>
                  <a:srgbClr val="1B1C33"/>
                </a:solidFill>
                <a:latin typeface="Kepler Std" panose="0204060306070A060204" pitchFamily="18" charset="77"/>
                <a:cs typeface="HelveticaNowDisplay ExtraBold" panose="020B0904030202020204" pitchFamily="34" charset="0"/>
              </a:rPr>
              <a:t>?</a:t>
            </a:r>
            <a:endParaRPr lang="nl-NL" sz="1600" dirty="0">
              <a:solidFill>
                <a:srgbClr val="1B1C33"/>
              </a:solidFill>
              <a:latin typeface="Kepler Std" panose="0204060306070A060204" pitchFamily="18" charset="77"/>
              <a:cs typeface="HelveticaNowDisplay ExtraBold" panose="020B090403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2BBEBC0-1A3B-4C8C-8A65-0BC3BC86E0E9}"/>
              </a:ext>
            </a:extLst>
          </p:cNvPr>
          <p:cNvSpPr txBox="1">
            <a:spLocks/>
          </p:cNvSpPr>
          <p:nvPr/>
        </p:nvSpPr>
        <p:spPr>
          <a:xfrm>
            <a:off x="1948118" y="2740964"/>
            <a:ext cx="2681990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</a:lstStyle>
          <a:p>
            <a:pPr algn="ctr" defTabSz="520940">
              <a:defRPr kumimoji="0" sz="1800" b="0" i="0" normalizeH="0" noProof="0">
                <a:solidFill>
                  <a:srgbClr val="1B1C33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nl-NL" sz="1600" dirty="0">
                <a:solidFill>
                  <a:srgbClr val="1B1C33"/>
                </a:solidFill>
                <a:latin typeface="Kepler Std" panose="0204060306070A060204" pitchFamily="18" charset="77"/>
                <a:cs typeface="HelveticaNowDisplay ExtraBold" panose="020B0904030202020204" pitchFamily="34" charset="0"/>
              </a:rPr>
              <a:t>Wat maakt het idee innovatief?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5141203-3EF8-4A15-850C-B9E2C9CD738B}"/>
              </a:ext>
            </a:extLst>
          </p:cNvPr>
          <p:cNvSpPr txBox="1"/>
          <p:nvPr/>
        </p:nvSpPr>
        <p:spPr>
          <a:xfrm>
            <a:off x="887569" y="3059278"/>
            <a:ext cx="4803089" cy="1314510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>
            <a:defPPr>
              <a:defRPr lang="en-US"/>
            </a:defPPr>
          </a:lstStyle>
          <a:p>
            <a:pPr defTabSz="520940">
              <a:defRPr kumimoji="0" sz="1800" b="0" i="0" normalizeH="0" noProof="0">
                <a:solidFill>
                  <a:srgbClr val="1B1C33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en-GB" sz="1026" dirty="0">
                <a:solidFill>
                  <a:srgbClr val="1B1C33"/>
                </a:solidFill>
                <a:latin typeface="FREIGHTSANS PRO BOOK" panose="02000606030000020004" pitchFamily="2" charset="0"/>
                <a:cs typeface="HelveticaNowDisplay Light" panose="020B0404030202020204" pitchFamily="34" charset="0"/>
              </a:rPr>
              <a:t>&lt; </a:t>
            </a:r>
            <a:r>
              <a:rPr lang="en-GB" sz="1026" dirty="0" err="1">
                <a:solidFill>
                  <a:srgbClr val="1B1C33"/>
                </a:solidFill>
                <a:latin typeface="FREIGHTSANS PRO BOOK" panose="02000606030000020004" pitchFamily="2" charset="0"/>
                <a:cs typeface="HelveticaNowDisplay Light" panose="020B0404030202020204" pitchFamily="34" charset="0"/>
              </a:rPr>
              <a:t>Schrijf</a:t>
            </a:r>
            <a:r>
              <a:rPr lang="en-GB" sz="1026" dirty="0">
                <a:solidFill>
                  <a:srgbClr val="1B1C33"/>
                </a:solidFill>
                <a:latin typeface="FREIGHTSANS PRO BOOK" panose="02000606030000020004" pitchFamily="2" charset="0"/>
                <a:cs typeface="HelveticaNowDisplay Light" panose="020B0404030202020204" pitchFamily="34" charset="0"/>
              </a:rPr>
              <a:t> </a:t>
            </a:r>
            <a:r>
              <a:rPr lang="en-GB" sz="1026" dirty="0" err="1">
                <a:solidFill>
                  <a:srgbClr val="1B1C33"/>
                </a:solidFill>
                <a:latin typeface="FREIGHTSANS PRO BOOK" panose="02000606030000020004" pitchFamily="2" charset="0"/>
                <a:cs typeface="HelveticaNowDisplay Light" panose="020B0404030202020204" pitchFamily="34" charset="0"/>
              </a:rPr>
              <a:t>hier</a:t>
            </a:r>
            <a:r>
              <a:rPr lang="en-GB" sz="1026" dirty="0">
                <a:solidFill>
                  <a:srgbClr val="1B1C33"/>
                </a:solidFill>
                <a:latin typeface="FREIGHTSANS PRO BOOK" panose="02000606030000020004" pitchFamily="2" charset="0"/>
                <a:cs typeface="HelveticaNowDisplay Light" panose="020B0404030202020204" pitchFamily="34" charset="0"/>
              </a:rPr>
              <a:t> &gt;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798B1A3-7298-47E3-9451-6549B0B58D37}"/>
              </a:ext>
            </a:extLst>
          </p:cNvPr>
          <p:cNvSpPr txBox="1"/>
          <p:nvPr/>
        </p:nvSpPr>
        <p:spPr>
          <a:xfrm>
            <a:off x="6510150" y="3039523"/>
            <a:ext cx="4768807" cy="1334265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>
            <a:defPPr>
              <a:defRPr lang="en-US"/>
            </a:defPPr>
          </a:lstStyle>
          <a:p>
            <a:pPr defTabSz="520940">
              <a:defRPr kumimoji="0" sz="1800" b="0" i="0" normalizeH="0" noProof="0">
                <a:solidFill>
                  <a:srgbClr val="1B1C33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en-GB" sz="1050" dirty="0">
                <a:solidFill>
                  <a:srgbClr val="1B1C33"/>
                </a:solidFill>
                <a:cs typeface="HelveticaNowDisplay Light" panose="020B0404030202020204" pitchFamily="34" charset="0"/>
              </a:rPr>
              <a:t>&lt; </a:t>
            </a:r>
            <a:r>
              <a:rPr lang="en-GB" sz="1050" dirty="0" err="1">
                <a:solidFill>
                  <a:srgbClr val="1B1C33"/>
                </a:solidFill>
                <a:cs typeface="HelveticaNowDisplay Light" panose="020B0404030202020204" pitchFamily="34" charset="0"/>
              </a:rPr>
              <a:t>Schrijf</a:t>
            </a:r>
            <a:r>
              <a:rPr lang="en-GB" sz="1050" dirty="0">
                <a:solidFill>
                  <a:srgbClr val="1B1C33"/>
                </a:solidFill>
                <a:cs typeface="HelveticaNowDisplay Light" panose="020B0404030202020204" pitchFamily="34" charset="0"/>
              </a:rPr>
              <a:t> </a:t>
            </a:r>
            <a:r>
              <a:rPr lang="en-GB" sz="1050" dirty="0" err="1">
                <a:solidFill>
                  <a:srgbClr val="1B1C33"/>
                </a:solidFill>
                <a:cs typeface="HelveticaNowDisplay Light" panose="020B0404030202020204" pitchFamily="34" charset="0"/>
              </a:rPr>
              <a:t>hier</a:t>
            </a:r>
            <a:r>
              <a:rPr lang="en-GB" sz="1050" dirty="0">
                <a:solidFill>
                  <a:srgbClr val="1B1C33"/>
                </a:solidFill>
                <a:cs typeface="HelveticaNowDisplay Light" panose="020B0404030202020204" pitchFamily="34" charset="0"/>
              </a:rPr>
              <a:t> &gt;</a:t>
            </a:r>
          </a:p>
          <a:p>
            <a:pPr defTabSz="520940">
              <a:defRPr kumimoji="0" sz="1800" b="0" i="0" normalizeH="0" noProof="0">
                <a:solidFill>
                  <a:srgbClr val="1B1C33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endParaRPr lang="en-GB" sz="1026" dirty="0">
              <a:solidFill>
                <a:srgbClr val="1B1C33"/>
              </a:solidFill>
              <a:latin typeface="FREIGHTSANS PRO BOOK" panose="02000606030000020004" pitchFamily="2" charset="0"/>
              <a:cs typeface="HelveticaNowDisplay Light" panose="020B040403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F4594CE-F7DC-C881-3F73-C69960DCE76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767544" y="1306343"/>
            <a:ext cx="5328456" cy="17543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</a:lstStyle>
          <a:p>
            <a:pPr defTabSz="520940">
              <a:defRPr kumimoji="0" sz="1800" b="0" i="0" normalizeH="0" noProof="0">
                <a:solidFill>
                  <a:srgbClr val="1B1C33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nl-NL" sz="1140" dirty="0">
                <a:solidFill>
                  <a:srgbClr val="1B1C33"/>
                </a:solidFill>
                <a:latin typeface="FREIGHTSANS PRO SEMIBOLD" panose="02000603040000020004" pitchFamily="2" charset="0"/>
                <a:cs typeface="HelveticaNowDisplay ExtraBold" panose="020B0904030202020204" pitchFamily="34" charset="0"/>
              </a:rPr>
              <a:t>Omschrijving van het idee</a:t>
            </a:r>
            <a:r>
              <a:rPr lang="nl-NL" sz="1140" dirty="0">
                <a:solidFill>
                  <a:srgbClr val="1B1C33"/>
                </a:solidFill>
                <a:latin typeface="HelveticaNowDisplay ExtraBold" panose="020B0904030202020204" pitchFamily="34" charset="0"/>
                <a:cs typeface="HelveticaNowDisplay ExtraBold" panose="020B0904030202020204" pitchFamily="34" charset="0"/>
              </a:rPr>
              <a:t>:</a:t>
            </a:r>
            <a:endParaRPr lang="en-US" sz="1140" dirty="0">
              <a:solidFill>
                <a:srgbClr val="1B1C33"/>
              </a:solidFill>
              <a:cs typeface="HelveticaNowDisplay ExtraBold" panose="020B090403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5EEA2E2-F73F-F461-2C20-EFC20DEC8029}"/>
              </a:ext>
            </a:extLst>
          </p:cNvPr>
          <p:cNvSpPr txBox="1"/>
          <p:nvPr/>
        </p:nvSpPr>
        <p:spPr>
          <a:xfrm>
            <a:off x="767545" y="981447"/>
            <a:ext cx="3288519" cy="22788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</a:lstStyle>
          <a:p>
            <a:pPr defTabSz="520940">
              <a:defRPr kumimoji="0" sz="1800" b="0" i="0" normalizeH="0" noProof="0">
                <a:solidFill>
                  <a:srgbClr val="1B1C33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nl-NL" sz="1481" dirty="0">
                <a:solidFill>
                  <a:srgbClr val="1B1C33"/>
                </a:solidFill>
                <a:latin typeface="FREIGHTSANS PRO SEMIBOLD" panose="02000603040000020004" pitchFamily="2" charset="0"/>
                <a:cs typeface="HelveticaNowDisplay ExtraBold" panose="020B0904030202020204" pitchFamily="34" charset="0"/>
              </a:rPr>
              <a:t>Naam bedrijf: </a:t>
            </a:r>
            <a:r>
              <a:rPr lang="nl-NL" sz="1481" dirty="0">
                <a:solidFill>
                  <a:srgbClr val="1B1C33"/>
                </a:solidFill>
                <a:cs typeface="HelveticaNowDisplay ExtraBold" panose="020B0904030202020204" pitchFamily="34" charset="0"/>
              </a:rPr>
              <a:t>&lt; naam &gt;</a:t>
            </a:r>
            <a:endParaRPr lang="nl-NL" sz="1481" b="1" dirty="0">
              <a:solidFill>
                <a:srgbClr val="1B1C33"/>
              </a:solidFill>
              <a:cs typeface="HelveticaNowDisplay Light" panose="020B040403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8A2FD5D-01AE-FBBE-E9EE-2FFB003E013A}"/>
              </a:ext>
            </a:extLst>
          </p:cNvPr>
          <p:cNvSpPr txBox="1"/>
          <p:nvPr/>
        </p:nvSpPr>
        <p:spPr>
          <a:xfrm>
            <a:off x="4865890" y="981447"/>
            <a:ext cx="3288519" cy="22788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</a:lstStyle>
          <a:p>
            <a:pPr defTabSz="520940">
              <a:defRPr kumimoji="0" sz="1800" b="0" i="0" normalizeH="0" noProof="0">
                <a:solidFill>
                  <a:srgbClr val="1B1C33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nl-NL" sz="1481" dirty="0">
                <a:solidFill>
                  <a:srgbClr val="1B1C33"/>
                </a:solidFill>
                <a:latin typeface="FREIGHTSANS PRO SEMIBOLD" panose="02000603040000020004" pitchFamily="2" charset="0"/>
                <a:cs typeface="HelveticaNowDisplay ExtraBold" panose="020B0904030202020204" pitchFamily="34" charset="0"/>
              </a:rPr>
              <a:t>Naam pitcher 1: </a:t>
            </a:r>
            <a:r>
              <a:rPr lang="nl-NL" sz="1481" dirty="0">
                <a:solidFill>
                  <a:srgbClr val="1B1C33"/>
                </a:solidFill>
                <a:cs typeface="HelveticaNowDisplay ExtraBold" panose="020B0904030202020204" pitchFamily="34" charset="0"/>
              </a:rPr>
              <a:t>&lt; naam &gt;</a:t>
            </a:r>
            <a:endParaRPr lang="nl-NL" sz="1481" b="1" dirty="0">
              <a:solidFill>
                <a:srgbClr val="1B1C33"/>
              </a:solidFill>
              <a:latin typeface="FREIGHTSANS PRO BOOK" panose="02000606030000020004" pitchFamily="2" charset="0"/>
              <a:cs typeface="HelveticaNowDisplay Light" panose="020B0404030202020204" pitchFamily="34" charset="0"/>
            </a:endParaRPr>
          </a:p>
        </p:txBody>
      </p:sp>
      <p:pic>
        <p:nvPicPr>
          <p:cNvPr id="41" name="Picture 19" descr="dragon Icon 1387590">
            <a:extLst>
              <a:ext uri="{FF2B5EF4-FFF2-40B4-BE49-F238E27FC236}">
                <a16:creationId xmlns:a16="http://schemas.microsoft.com/office/drawing/2014/main" id="{70DB797F-01D6-B5C0-6C80-D16ED7E2D89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09363" y="0"/>
            <a:ext cx="1069887" cy="1069887"/>
          </a:xfrm>
          <a:prstGeom prst="rect">
            <a:avLst/>
          </a:prstGeom>
          <a:solidFill>
            <a:schemeClr val="bg2"/>
          </a:solidFill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3AA9D7AE-4245-86F7-EAD1-2D3A3967AA05}"/>
              </a:ext>
            </a:extLst>
          </p:cNvPr>
          <p:cNvSpPr txBox="1"/>
          <p:nvPr/>
        </p:nvSpPr>
        <p:spPr>
          <a:xfrm>
            <a:off x="887569" y="4873433"/>
            <a:ext cx="4803089" cy="1344353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>
            <a:defPPr>
              <a:defRPr lang="en-US"/>
            </a:defPPr>
          </a:lstStyle>
          <a:p>
            <a:pPr marL="195504" indent="-195504" defTabSz="520940">
              <a:buFont typeface="Arial" panose="020B0604020202020204" pitchFamily="34" charset="0"/>
              <a:buChar char="•"/>
              <a:defRPr kumimoji="0" sz="1800" b="0" i="0" normalizeH="0" noProof="0">
                <a:solidFill>
                  <a:srgbClr val="1B1C33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en-GB" sz="1140" dirty="0">
                <a:solidFill>
                  <a:srgbClr val="1B1C33"/>
                </a:solidFill>
                <a:latin typeface="FREIGHTSANS PRO BOOK" panose="02000606030000020004" pitchFamily="2" charset="0"/>
                <a:cs typeface="HelveticaNowDisplay Light" panose="020B0404030202020204" pitchFamily="34" charset="0"/>
              </a:rPr>
              <a:t>&lt; idee &gt;</a:t>
            </a:r>
          </a:p>
          <a:p>
            <a:pPr marL="195504" indent="-195504" defTabSz="520940">
              <a:buFont typeface="Arial" panose="020B0604020202020204" pitchFamily="34" charset="0"/>
              <a:buChar char="•"/>
              <a:defRPr kumimoji="0" sz="1800" b="0" i="0" normalizeH="0" noProof="0">
                <a:solidFill>
                  <a:srgbClr val="1B1C33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endParaRPr lang="en-GB" sz="1140" dirty="0">
              <a:solidFill>
                <a:srgbClr val="1B1C33"/>
              </a:solidFill>
              <a:latin typeface="HelveticaNowDisplay Light" panose="020B0404030202020204" pitchFamily="34" charset="0"/>
              <a:cs typeface="HelveticaNowDisplay Light" panose="020B0404030202020204" pitchFamily="34" charset="0"/>
            </a:endParaRPr>
          </a:p>
          <a:p>
            <a:pPr marL="195504" indent="-195504" defTabSz="520940">
              <a:buFont typeface="Arial" panose="020B0604020202020204" pitchFamily="34" charset="0"/>
              <a:buChar char="•"/>
              <a:defRPr kumimoji="0" sz="1800" b="0" i="0" normalizeH="0" noProof="0">
                <a:solidFill>
                  <a:srgbClr val="1B1C33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en-GB" sz="1140" dirty="0">
                <a:solidFill>
                  <a:srgbClr val="1B1C33"/>
                </a:solidFill>
                <a:latin typeface="FREIGHTSANS PRO BOOK" panose="02000606030000020004" pitchFamily="2" charset="0"/>
                <a:cs typeface="HelveticaNowDisplay Light" panose="020B0404030202020204" pitchFamily="34" charset="0"/>
              </a:rPr>
              <a:t>&lt; idee &gt;</a:t>
            </a:r>
            <a:endParaRPr lang="en-GB" sz="1140" dirty="0">
              <a:solidFill>
                <a:srgbClr val="1B1C33"/>
              </a:solidFill>
              <a:cs typeface="HelveticaNowDisplay Light" panose="020B0404030202020204" pitchFamily="34" charset="0"/>
            </a:endParaRPr>
          </a:p>
          <a:p>
            <a:pPr marL="195504" indent="-195504" defTabSz="520940">
              <a:buFont typeface="Arial" panose="020B0604020202020204" pitchFamily="34" charset="0"/>
              <a:buChar char="•"/>
              <a:defRPr kumimoji="0" sz="1800" b="0" i="0" normalizeH="0" noProof="0">
                <a:solidFill>
                  <a:srgbClr val="1B1C33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endParaRPr lang="en-GB" sz="1140" dirty="0">
              <a:solidFill>
                <a:srgbClr val="1B1C33"/>
              </a:solidFill>
              <a:latin typeface="HelveticaNowDisplay Light" panose="020B0404030202020204" pitchFamily="34" charset="0"/>
              <a:cs typeface="HelveticaNowDisplay Light" panose="020B0404030202020204" pitchFamily="34" charset="0"/>
            </a:endParaRPr>
          </a:p>
          <a:p>
            <a:pPr marL="195504" indent="-195504" defTabSz="520940">
              <a:buFont typeface="Arial" panose="020B0604020202020204" pitchFamily="34" charset="0"/>
              <a:buChar char="•"/>
              <a:defRPr kumimoji="0" sz="1800" b="0" i="0" normalizeH="0" noProof="0">
                <a:solidFill>
                  <a:srgbClr val="1B1C33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en-GB" sz="1140" dirty="0">
                <a:solidFill>
                  <a:srgbClr val="1B1C33"/>
                </a:solidFill>
                <a:cs typeface="HelveticaNowDisplay Light" panose="020B0404030202020204" pitchFamily="34" charset="0"/>
              </a:rPr>
              <a:t>&lt; idee &gt;</a:t>
            </a:r>
          </a:p>
          <a:p>
            <a:pPr defTabSz="520940">
              <a:defRPr kumimoji="0" sz="1800" b="0" i="0" normalizeH="0" noProof="0">
                <a:solidFill>
                  <a:srgbClr val="1B1C33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endParaRPr lang="en-GB" sz="1140" dirty="0">
              <a:solidFill>
                <a:srgbClr val="1B1C33"/>
              </a:solidFill>
              <a:latin typeface="HelveticaNowDisplay Light" panose="020B0404030202020204" pitchFamily="34" charset="0"/>
              <a:cs typeface="HelveticaNowDisplay Light" panose="020B0404030202020204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02599161-4228-8A53-6989-51291C5EDF7B}"/>
              </a:ext>
            </a:extLst>
          </p:cNvPr>
          <p:cNvSpPr txBox="1"/>
          <p:nvPr/>
        </p:nvSpPr>
        <p:spPr>
          <a:xfrm>
            <a:off x="6510150" y="4965315"/>
            <a:ext cx="4803089" cy="1252471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>
            <a:defPPr>
              <a:defRPr lang="en-US"/>
            </a:defPPr>
          </a:lstStyle>
          <a:p>
            <a:pPr defTabSz="520940">
              <a:defRPr kumimoji="0" sz="1800" b="0" i="0" normalizeH="0" noProof="0">
                <a:solidFill>
                  <a:srgbClr val="1B1C33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en-GB" sz="1140" dirty="0">
                <a:solidFill>
                  <a:srgbClr val="1B1C33"/>
                </a:solidFill>
                <a:cs typeface="HelveticaNowDisplay Light" panose="020B0404030202020204" pitchFamily="34" charset="0"/>
              </a:rPr>
              <a:t>&lt; </a:t>
            </a:r>
            <a:r>
              <a:rPr lang="en-GB" sz="1140" dirty="0" err="1">
                <a:solidFill>
                  <a:srgbClr val="1B1C33"/>
                </a:solidFill>
                <a:cs typeface="HelveticaNowDisplay Light" panose="020B0404030202020204" pitchFamily="34" charset="0"/>
              </a:rPr>
              <a:t>Schrijf</a:t>
            </a:r>
            <a:r>
              <a:rPr lang="en-GB" sz="1140" dirty="0">
                <a:solidFill>
                  <a:srgbClr val="1B1C33"/>
                </a:solidFill>
                <a:cs typeface="HelveticaNowDisplay Light" panose="020B0404030202020204" pitchFamily="34" charset="0"/>
              </a:rPr>
              <a:t> </a:t>
            </a:r>
            <a:r>
              <a:rPr lang="en-GB" sz="1140" dirty="0" err="1">
                <a:solidFill>
                  <a:srgbClr val="1B1C33"/>
                </a:solidFill>
                <a:cs typeface="HelveticaNowDisplay Light" panose="020B0404030202020204" pitchFamily="34" charset="0"/>
              </a:rPr>
              <a:t>hier</a:t>
            </a:r>
            <a:r>
              <a:rPr lang="en-GB" sz="1140" dirty="0">
                <a:solidFill>
                  <a:srgbClr val="1B1C33"/>
                </a:solidFill>
                <a:cs typeface="HelveticaNowDisplay Light" panose="020B0404030202020204" pitchFamily="34" charset="0"/>
              </a:rPr>
              <a:t> &gt;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A7031E-6448-A563-3874-B23DC75BF01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268268" y="1296819"/>
            <a:ext cx="5409985" cy="17543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</a:lstStyle>
          <a:p>
            <a:pPr defTabSz="520940">
              <a:defRPr kumimoji="0" sz="1800" b="0" i="0" normalizeH="0" noProof="0">
                <a:solidFill>
                  <a:srgbClr val="1B1C33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nl-NL" sz="1140" dirty="0">
                <a:solidFill>
                  <a:srgbClr val="1B1C33"/>
                </a:solidFill>
                <a:latin typeface="FREIGHTSANS PRO SEMIBOLD" panose="02000603040000020004" pitchFamily="2" charset="0"/>
                <a:cs typeface="HelveticaNowDisplay ExtraBold" panose="020B0904030202020204" pitchFamily="34" charset="0"/>
              </a:rPr>
              <a:t>Welke problemen lost het idee op?</a:t>
            </a:r>
            <a:endParaRPr lang="nl-NL" sz="1140" dirty="0">
              <a:solidFill>
                <a:srgbClr val="1B1C33"/>
              </a:solidFill>
              <a:cs typeface="HelveticaNowDisplay ExtraBold" panose="020B0904030202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269BB8-726B-0979-4737-A7B036B08D9F}"/>
              </a:ext>
            </a:extLst>
          </p:cNvPr>
          <p:cNvCxnSpPr>
            <a:cxnSpLocks/>
          </p:cNvCxnSpPr>
          <p:nvPr/>
        </p:nvCxnSpPr>
        <p:spPr>
          <a:xfrm>
            <a:off x="768785" y="1290196"/>
            <a:ext cx="10664723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28F576DD-FDB0-8CAA-C3C6-DE11B466C83F}"/>
              </a:ext>
            </a:extLst>
          </p:cNvPr>
          <p:cNvSpPr txBox="1"/>
          <p:nvPr/>
        </p:nvSpPr>
        <p:spPr>
          <a:xfrm>
            <a:off x="8135939" y="983794"/>
            <a:ext cx="3288519" cy="22788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</a:lstStyle>
          <a:p>
            <a:pPr defTabSz="520940">
              <a:defRPr kumimoji="0" sz="1800" b="0" i="0" normalizeH="0" noProof="0">
                <a:solidFill>
                  <a:srgbClr val="1B1C33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nl-NL" sz="1481" dirty="0">
                <a:solidFill>
                  <a:srgbClr val="1B1C33"/>
                </a:solidFill>
                <a:latin typeface="FREIGHTSANS PRO SEMIBOLD" panose="02000603040000020004" pitchFamily="2" charset="0"/>
                <a:cs typeface="HelveticaNowDisplay ExtraBold" panose="020B0904030202020204" pitchFamily="34" charset="0"/>
              </a:rPr>
              <a:t>Naam pitcher 2: </a:t>
            </a:r>
            <a:r>
              <a:rPr lang="nl-NL" sz="1481" dirty="0">
                <a:solidFill>
                  <a:srgbClr val="1B1C33"/>
                </a:solidFill>
                <a:cs typeface="HelveticaNowDisplay ExtraBold" panose="020B0904030202020204" pitchFamily="34" charset="0"/>
              </a:rPr>
              <a:t>&lt; naam &gt;</a:t>
            </a:r>
            <a:endParaRPr lang="nl-NL" sz="1481" b="1" dirty="0">
              <a:solidFill>
                <a:srgbClr val="1B1C33"/>
              </a:solidFill>
              <a:cs typeface="HelveticaNowDisplay Light" panose="020B040403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7310662-5D87-1A33-AEC8-1D25929430DE}"/>
              </a:ext>
            </a:extLst>
          </p:cNvPr>
          <p:cNvSpPr txBox="1"/>
          <p:nvPr/>
        </p:nvSpPr>
        <p:spPr>
          <a:xfrm>
            <a:off x="765282" y="1527771"/>
            <a:ext cx="5169661" cy="1131871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>
            <a:defPPr>
              <a:defRPr lang="en-US"/>
            </a:defPPr>
          </a:lstStyle>
          <a:p>
            <a:pPr defTabSz="520940">
              <a:defRPr kumimoji="0" sz="1800" b="0" i="0" normalizeH="0" noProof="0">
                <a:solidFill>
                  <a:srgbClr val="1B1C33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en-GB" sz="1140" dirty="0">
                <a:solidFill>
                  <a:srgbClr val="1B1C33"/>
                </a:solidFill>
                <a:cs typeface="HelveticaNowDisplay Light" panose="020B0404030202020204" pitchFamily="34" charset="0"/>
              </a:rPr>
              <a:t>&lt; </a:t>
            </a:r>
            <a:r>
              <a:rPr lang="en-GB" sz="1140" dirty="0" err="1">
                <a:solidFill>
                  <a:srgbClr val="1B1C33"/>
                </a:solidFill>
                <a:cs typeface="HelveticaNowDisplay Light" panose="020B0404030202020204" pitchFamily="34" charset="0"/>
              </a:rPr>
              <a:t>Schrijf</a:t>
            </a:r>
            <a:r>
              <a:rPr lang="en-GB" sz="1140" dirty="0">
                <a:solidFill>
                  <a:srgbClr val="1B1C33"/>
                </a:solidFill>
                <a:cs typeface="HelveticaNowDisplay Light" panose="020B0404030202020204" pitchFamily="34" charset="0"/>
              </a:rPr>
              <a:t> </a:t>
            </a:r>
            <a:r>
              <a:rPr lang="en-GB" sz="1140" dirty="0" err="1">
                <a:solidFill>
                  <a:srgbClr val="1B1C33"/>
                </a:solidFill>
                <a:cs typeface="HelveticaNowDisplay Light" panose="020B0404030202020204" pitchFamily="34" charset="0"/>
              </a:rPr>
              <a:t>hier</a:t>
            </a:r>
            <a:r>
              <a:rPr lang="en-GB" sz="1140" dirty="0">
                <a:solidFill>
                  <a:srgbClr val="1B1C33"/>
                </a:solidFill>
                <a:cs typeface="HelveticaNowDisplay Light" panose="020B0404030202020204" pitchFamily="34" charset="0"/>
              </a:rPr>
              <a:t> &gt;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F309572-23FA-449E-42AE-613F83662DBB}"/>
              </a:ext>
            </a:extLst>
          </p:cNvPr>
          <p:cNvSpPr txBox="1"/>
          <p:nvPr/>
        </p:nvSpPr>
        <p:spPr>
          <a:xfrm>
            <a:off x="6268268" y="1523564"/>
            <a:ext cx="5169661" cy="1071034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>
            <a:defPPr>
              <a:defRPr lang="en-US"/>
            </a:defPPr>
          </a:lstStyle>
          <a:p>
            <a:pPr defTabSz="520940">
              <a:defRPr kumimoji="0" sz="1800" b="0" i="0" normalizeH="0" noProof="0">
                <a:solidFill>
                  <a:srgbClr val="1B1C33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r>
              <a:rPr lang="en-GB" sz="1140" dirty="0">
                <a:solidFill>
                  <a:srgbClr val="1B1C33"/>
                </a:solidFill>
                <a:cs typeface="HelveticaNowDisplay Light" panose="020B0404030202020204" pitchFamily="34" charset="0"/>
              </a:rPr>
              <a:t>&lt; </a:t>
            </a:r>
            <a:r>
              <a:rPr lang="en-GB" sz="1140" dirty="0" err="1">
                <a:solidFill>
                  <a:srgbClr val="1B1C33"/>
                </a:solidFill>
                <a:cs typeface="HelveticaNowDisplay Light" panose="020B0404030202020204" pitchFamily="34" charset="0"/>
              </a:rPr>
              <a:t>Schrijf</a:t>
            </a:r>
            <a:r>
              <a:rPr lang="en-GB" sz="1140" dirty="0">
                <a:solidFill>
                  <a:srgbClr val="1B1C33"/>
                </a:solidFill>
                <a:cs typeface="HelveticaNowDisplay Light" panose="020B0404030202020204" pitchFamily="34" charset="0"/>
              </a:rPr>
              <a:t> </a:t>
            </a:r>
            <a:r>
              <a:rPr lang="en-GB" sz="1140" dirty="0" err="1">
                <a:solidFill>
                  <a:srgbClr val="1B1C33"/>
                </a:solidFill>
                <a:cs typeface="HelveticaNowDisplay Light" panose="020B0404030202020204" pitchFamily="34" charset="0"/>
              </a:rPr>
              <a:t>hier</a:t>
            </a:r>
            <a:r>
              <a:rPr lang="en-GB" sz="1140" dirty="0">
                <a:solidFill>
                  <a:srgbClr val="1B1C33"/>
                </a:solidFill>
                <a:cs typeface="HelveticaNowDisplay Light" panose="020B0404030202020204" pitchFamily="34" charset="0"/>
              </a:rPr>
              <a:t> &gt;</a:t>
            </a:r>
          </a:p>
          <a:p>
            <a:pPr defTabSz="520940">
              <a:defRPr kumimoji="0" sz="1800" b="0" i="0" normalizeH="0" noProof="0">
                <a:solidFill>
                  <a:srgbClr val="1B1C33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endParaRPr lang="en-GB" sz="1140" dirty="0">
              <a:solidFill>
                <a:srgbClr val="1B1C33"/>
              </a:solidFill>
              <a:cs typeface="HelveticaNowDisplay Light" panose="020B0404030202020204" pitchFamily="34" charset="0"/>
            </a:endParaRPr>
          </a:p>
          <a:p>
            <a:pPr defTabSz="520940">
              <a:defRPr kumimoji="0" sz="1800" b="0" i="0" normalizeH="0" noProof="0">
                <a:solidFill>
                  <a:srgbClr val="1B1C33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endParaRPr lang="en-GB" sz="1140" dirty="0">
              <a:solidFill>
                <a:srgbClr val="1B1C33"/>
              </a:solidFill>
              <a:cs typeface="HelveticaNowDisplay Light" panose="020B0404030202020204" pitchFamily="34" charset="0"/>
            </a:endParaRPr>
          </a:p>
          <a:p>
            <a:pPr defTabSz="520940">
              <a:defRPr kumimoji="0" sz="1800" b="0" i="0" normalizeH="0" noProof="0">
                <a:solidFill>
                  <a:srgbClr val="1B1C33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endParaRPr lang="en-GB" sz="1140" dirty="0">
              <a:solidFill>
                <a:srgbClr val="1B1C33"/>
              </a:solidFill>
              <a:cs typeface="HelveticaNowDisplay Light" panose="020B0404030202020204" pitchFamily="34" charset="0"/>
            </a:endParaRPr>
          </a:p>
          <a:p>
            <a:pPr defTabSz="520940">
              <a:defRPr kumimoji="0" sz="1800" b="0" i="0" normalizeH="0" noProof="0">
                <a:solidFill>
                  <a:srgbClr val="1B1C33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endParaRPr lang="en-GB" sz="1140" dirty="0">
              <a:solidFill>
                <a:srgbClr val="1B1C33"/>
              </a:solidFill>
              <a:cs typeface="HelveticaNowDisplay Light" panose="020B0404030202020204" pitchFamily="34" charset="0"/>
            </a:endParaRPr>
          </a:p>
          <a:p>
            <a:pPr defTabSz="520940">
              <a:defRPr kumimoji="0" sz="1800" b="0" i="0" normalizeH="0" noProof="0">
                <a:solidFill>
                  <a:srgbClr val="1B1C33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endParaRPr lang="en-GB" sz="1140" dirty="0">
              <a:solidFill>
                <a:srgbClr val="1B1C33"/>
              </a:solidFill>
              <a:cs typeface="HelveticaNowDisplay Light" panose="020B0404030202020204" pitchFamily="34" charset="0"/>
            </a:endParaRPr>
          </a:p>
          <a:p>
            <a:pPr defTabSz="520940">
              <a:defRPr kumimoji="0" sz="1800" b="0" i="0" normalizeH="0" noProof="0">
                <a:solidFill>
                  <a:srgbClr val="1B1C33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endParaRPr lang="en-GB" sz="1140" dirty="0">
              <a:solidFill>
                <a:srgbClr val="1B1C33"/>
              </a:solidFill>
              <a:cs typeface="HelveticaNowDisplay Light" panose="020B040403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37316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7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-%#m-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IG&amp;H 2024">
      <a:dk1>
        <a:srgbClr val="000000"/>
      </a:dk1>
      <a:lt1>
        <a:srgbClr val="FFFFFF"/>
      </a:lt1>
      <a:dk2>
        <a:srgbClr val="801626"/>
      </a:dk2>
      <a:lt2>
        <a:srgbClr val="FFFFFF"/>
      </a:lt2>
      <a:accent1>
        <a:srgbClr val="F96D06"/>
      </a:accent1>
      <a:accent2>
        <a:srgbClr val="E6341F"/>
      </a:accent2>
      <a:accent3>
        <a:srgbClr val="801626"/>
      </a:accent3>
      <a:accent4>
        <a:srgbClr val="071F65"/>
      </a:accent4>
      <a:accent5>
        <a:srgbClr val="133AF5"/>
      </a:accent5>
      <a:accent6>
        <a:srgbClr val="57A2FF"/>
      </a:accent6>
      <a:hlink>
        <a:srgbClr val="E6341F"/>
      </a:hlink>
      <a:folHlink>
        <a:srgbClr val="A3A3A3"/>
      </a:folHlink>
    </a:clrScheme>
    <a:fontScheme name="IG&amp;H 2024-concept">
      <a:majorFont>
        <a:latin typeface="Kepler Std"/>
        <a:ea typeface=""/>
        <a:cs typeface=""/>
      </a:majorFont>
      <a:minorFont>
        <a:latin typeface="FreightSans Pro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lank.potx" id="{70408D0F-FAF8-40AD-82ED-B0700E91DD96}" vid="{05FCA477-A74B-417E-9CEA-F0304F04B2F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307ED00A-A2CC-42F7-ACEB-EE58571A01C6}">
  <we:reference id="a761e866-31f6-4676-9a6c-095a3a900831" version="1.0.0.7" store="EXCatalog" storeType="EXCatalog"/>
  <we:alternateReferences>
    <we:reference id="WA200001625" version="1.0.0.7" store="en-US" storeType="OMEX"/>
  </we:alternateReferences>
  <we:properties>
    <we:property name="Office.AutoShowTaskpaneWithDocument" value="false"/>
  </we:properties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61fb7e8-c103-444e-b223-1a3649547320">
      <Terms xmlns="http://schemas.microsoft.com/office/infopath/2007/PartnerControls"/>
    </lcf76f155ced4ddcb4097134ff3c332f>
    <TaxCatchAll xmlns="de193592-0d8a-40d3-97a5-64cbc0738d46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72279E94DDB69479C8811D9890F4F88" ma:contentTypeVersion="18" ma:contentTypeDescription="Create a new document." ma:contentTypeScope="" ma:versionID="c6320c537877aa7838c24bdf3fd85055">
  <xsd:schema xmlns:xsd="http://www.w3.org/2001/XMLSchema" xmlns:xs="http://www.w3.org/2001/XMLSchema" xmlns:p="http://schemas.microsoft.com/office/2006/metadata/properties" xmlns:ns2="661fb7e8-c103-444e-b223-1a3649547320" xmlns:ns3="de193592-0d8a-40d3-97a5-64cbc0738d46" targetNamespace="http://schemas.microsoft.com/office/2006/metadata/properties" ma:root="true" ma:fieldsID="97874b9ff52d3000c3015b8e4d5245c6" ns2:_="" ns3:_="">
    <xsd:import namespace="661fb7e8-c103-444e-b223-1a3649547320"/>
    <xsd:import namespace="de193592-0d8a-40d3-97a5-64cbc0738d4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1fb7e8-c103-444e-b223-1a364954732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549ce352-eb21-4ec0-bca9-bdcfc58df18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e193592-0d8a-40d3-97a5-64cbc0738d46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3ab0df72-8fcf-44b2-bf2b-069ce6765638}" ma:internalName="TaxCatchAll" ma:showField="CatchAllData" ma:web="de193592-0d8a-40d3-97a5-64cbc0738d4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91544AC-218F-4DB8-8844-E91E4A7F48B6}">
  <ds:schemaRefs>
    <ds:schemaRef ds:uri="http://www.w3.org/XML/1998/namespace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purl.org/dc/dcmitype/"/>
    <ds:schemaRef ds:uri="661fb7e8-c103-444e-b223-1a3649547320"/>
    <ds:schemaRef ds:uri="http://purl.org/dc/elements/1.1/"/>
    <ds:schemaRef ds:uri="http://schemas.microsoft.com/office/infopath/2007/PartnerControls"/>
    <ds:schemaRef ds:uri="de193592-0d8a-40d3-97a5-64cbc0738d46"/>
  </ds:schemaRefs>
</ds:datastoreItem>
</file>

<file path=customXml/itemProps2.xml><?xml version="1.0" encoding="utf-8"?>
<ds:datastoreItem xmlns:ds="http://schemas.openxmlformats.org/officeDocument/2006/customXml" ds:itemID="{4D6B1B22-6F48-409A-8393-1DB634AB038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59F7EFC-378D-4F5C-989F-1B00A24B64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61fb7e8-c103-444e-b223-1a3649547320"/>
    <ds:schemaRef ds:uri="de193592-0d8a-40d3-97a5-64cbc0738d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7</TotalTime>
  <Words>99</Words>
  <Application>Microsoft Macintosh PowerPoint</Application>
  <PresentationFormat>Widescreen</PresentationFormat>
  <Paragraphs>2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4" baseType="lpstr">
      <vt:lpstr>Arial</vt:lpstr>
      <vt:lpstr>HelveticaNowDisplay Bold</vt:lpstr>
      <vt:lpstr>HelveticaNowDisplay ExtraBold</vt:lpstr>
      <vt:lpstr>FreightSans Pro Book</vt:lpstr>
      <vt:lpstr>HelveticaNowDisplay Regular</vt:lpstr>
      <vt:lpstr>Kepler Std</vt:lpstr>
      <vt:lpstr>Calibri</vt:lpstr>
      <vt:lpstr>FreightSans Pro Semibold</vt:lpstr>
      <vt:lpstr>HelveticaNowDisplay Light</vt:lpstr>
      <vt:lpstr>FreightSans Pro Semibold</vt:lpstr>
      <vt:lpstr>FreightSans Pro Book</vt:lpstr>
      <vt:lpstr>Office Theme</vt:lpstr>
      <vt:lpstr>think-cell Slide</vt:lpstr>
      <vt:lpstr>Registratie template | &lt;naam van het idee&gt;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Nathan van Kan</dc:creator>
  <cp:lastModifiedBy>Nathan van Kan</cp:lastModifiedBy>
  <cp:revision>2</cp:revision>
  <dcterms:created xsi:type="dcterms:W3CDTF">2025-01-10T10:23:23Z</dcterms:created>
  <dcterms:modified xsi:type="dcterms:W3CDTF">2025-01-13T12:26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87bc33a-7d08-4d3c-9468-650ebbe62c3c_Enabled">
    <vt:lpwstr>true</vt:lpwstr>
  </property>
  <property fmtid="{D5CDD505-2E9C-101B-9397-08002B2CF9AE}" pid="3" name="MSIP_Label_e87bc33a-7d08-4d3c-9468-650ebbe62c3c_Name">
    <vt:lpwstr>defa4170-0d19-0005-0003-bc88714345d2</vt:lpwstr>
  </property>
  <property fmtid="{D5CDD505-2E9C-101B-9397-08002B2CF9AE}" pid="4" name="MSIP_Label_e87bc33a-7d08-4d3c-9468-650ebbe62c3c_SiteId">
    <vt:lpwstr>86cdcea4-cf3c-4d3b-bc55-16b574e0e3d0</vt:lpwstr>
  </property>
  <property fmtid="{D5CDD505-2E9C-101B-9397-08002B2CF9AE}" pid="5" name="MSIP_Label_e87bc33a-7d08-4d3c-9468-650ebbe62c3c_ActionId">
    <vt:lpwstr>715c0012-4cd7-4dd5-a155-c1f3a47a370c</vt:lpwstr>
  </property>
  <property fmtid="{D5CDD505-2E9C-101B-9397-08002B2CF9AE}" pid="6" name="MSIP_Label_e87bc33a-7d08-4d3c-9468-650ebbe62c3c_ContentBits">
    <vt:lpwstr>0</vt:lpwstr>
  </property>
  <property fmtid="{D5CDD505-2E9C-101B-9397-08002B2CF9AE}" pid="7" name="MediaServiceImageTags">
    <vt:lpwstr/>
  </property>
  <property fmtid="{D5CDD505-2E9C-101B-9397-08002B2CF9AE}" pid="8" name="MSIP_Label_e87bc33a-7d08-4d3c-9468-650ebbe62c3c_Method">
    <vt:lpwstr>Privileged</vt:lpwstr>
  </property>
  <property fmtid="{D5CDD505-2E9C-101B-9397-08002B2CF9AE}" pid="9" name="MSIP_Label_e87bc33a-7d08-4d3c-9468-650ebbe62c3c_SetDate">
    <vt:lpwstr>2024-03-22T13:09:19Z</vt:lpwstr>
  </property>
  <property fmtid="{D5CDD505-2E9C-101B-9397-08002B2CF9AE}" pid="10" name="ContentTypeId">
    <vt:lpwstr>0x010100B72279E94DDB69479C8811D9890F4F88</vt:lpwstr>
  </property>
</Properties>
</file>